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48" r:id="rId1"/>
  </p:sldMasterIdLst>
  <p:notesMasterIdLst>
    <p:notesMasterId r:id="rId50"/>
  </p:notesMasterIdLst>
  <p:handoutMasterIdLst>
    <p:handoutMasterId r:id="rId51"/>
  </p:handoutMasterIdLst>
  <p:sldIdLst>
    <p:sldId id="627" r:id="rId2"/>
    <p:sldId id="1200" r:id="rId3"/>
    <p:sldId id="1196" r:id="rId4"/>
    <p:sldId id="1049" r:id="rId5"/>
    <p:sldId id="1199" r:id="rId6"/>
    <p:sldId id="1197" r:id="rId7"/>
    <p:sldId id="1198" r:id="rId8"/>
    <p:sldId id="1201" r:id="rId9"/>
    <p:sldId id="1182" r:id="rId10"/>
    <p:sldId id="1205" r:id="rId11"/>
    <p:sldId id="1186" r:id="rId12"/>
    <p:sldId id="1146" r:id="rId13"/>
    <p:sldId id="1153" r:id="rId14"/>
    <p:sldId id="1187" r:id="rId15"/>
    <p:sldId id="1109" r:id="rId16"/>
    <p:sldId id="1148" r:id="rId17"/>
    <p:sldId id="1206" r:id="rId18"/>
    <p:sldId id="1154" r:id="rId19"/>
    <p:sldId id="1149" r:id="rId20"/>
    <p:sldId id="1112" r:id="rId21"/>
    <p:sldId id="1156" r:id="rId22"/>
    <p:sldId id="1113" r:id="rId23"/>
    <p:sldId id="1190" r:id="rId24"/>
    <p:sldId id="1120" r:id="rId25"/>
    <p:sldId id="1203" r:id="rId26"/>
    <p:sldId id="1157" r:id="rId27"/>
    <p:sldId id="1207" r:id="rId28"/>
    <p:sldId id="1211" r:id="rId29"/>
    <p:sldId id="1208" r:id="rId30"/>
    <p:sldId id="1209" r:id="rId31"/>
    <p:sldId id="1150" r:id="rId32"/>
    <p:sldId id="1129" r:id="rId33"/>
    <p:sldId id="1170" r:id="rId34"/>
    <p:sldId id="1171" r:id="rId35"/>
    <p:sldId id="1158" r:id="rId36"/>
    <p:sldId id="1180" r:id="rId37"/>
    <p:sldId id="1181" r:id="rId38"/>
    <p:sldId id="1172" r:id="rId39"/>
    <p:sldId id="1121" r:id="rId40"/>
    <p:sldId id="1174" r:id="rId41"/>
    <p:sldId id="1165" r:id="rId42"/>
    <p:sldId id="1225" r:id="rId43"/>
    <p:sldId id="1218" r:id="rId44"/>
    <p:sldId id="1219" r:id="rId45"/>
    <p:sldId id="1220" r:id="rId46"/>
    <p:sldId id="1221" r:id="rId47"/>
    <p:sldId id="1222" r:id="rId48"/>
    <p:sldId id="1223" r:id="rId49"/>
  </p:sldIdLst>
  <p:sldSz cx="12192000" cy="6858000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8D932D50-CBD3-47B9-9090-FFAF3E0D5433}">
          <p14:sldIdLst>
            <p14:sldId id="627"/>
            <p14:sldId id="1200"/>
            <p14:sldId id="1196"/>
            <p14:sldId id="1049"/>
            <p14:sldId id="1199"/>
            <p14:sldId id="1197"/>
            <p14:sldId id="1198"/>
            <p14:sldId id="1201"/>
            <p14:sldId id="1182"/>
            <p14:sldId id="1205"/>
            <p14:sldId id="1186"/>
            <p14:sldId id="1146"/>
            <p14:sldId id="1153"/>
            <p14:sldId id="1187"/>
            <p14:sldId id="1109"/>
            <p14:sldId id="1148"/>
            <p14:sldId id="1206"/>
            <p14:sldId id="1154"/>
            <p14:sldId id="1149"/>
            <p14:sldId id="1112"/>
            <p14:sldId id="1156"/>
            <p14:sldId id="1113"/>
            <p14:sldId id="1190"/>
            <p14:sldId id="1120"/>
            <p14:sldId id="1203"/>
            <p14:sldId id="1157"/>
            <p14:sldId id="1207"/>
            <p14:sldId id="1211"/>
            <p14:sldId id="1208"/>
            <p14:sldId id="1209"/>
            <p14:sldId id="1150"/>
            <p14:sldId id="1129"/>
            <p14:sldId id="1170"/>
            <p14:sldId id="1171"/>
            <p14:sldId id="1158"/>
            <p14:sldId id="1180"/>
            <p14:sldId id="1181"/>
            <p14:sldId id="1172"/>
            <p14:sldId id="1121"/>
            <p14:sldId id="1174"/>
            <p14:sldId id="1165"/>
            <p14:sldId id="1225"/>
            <p14:sldId id="1218"/>
            <p14:sldId id="1219"/>
            <p14:sldId id="1220"/>
            <p14:sldId id="1221"/>
            <p14:sldId id="1222"/>
            <p14:sldId id="1223"/>
          </p14:sldIdLst>
        </p14:section>
        <p14:section name="Backup" id="{C5181387-BBA8-418B-9A4A-EE91A543F10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432" userDrawn="1">
          <p15:clr>
            <a:srgbClr val="A4A3A4"/>
          </p15:clr>
        </p15:guide>
        <p15:guide id="2" pos="3235" userDrawn="1">
          <p15:clr>
            <a:srgbClr val="A4A3A4"/>
          </p15:clr>
        </p15:guide>
        <p15:guide id="3" pos="7227" userDrawn="1">
          <p15:clr>
            <a:srgbClr val="A4A3A4"/>
          </p15:clr>
        </p15:guide>
        <p15:guide id="4" pos="3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an Rieke" initials="CR" lastIdx="1" clrIdx="0">
    <p:extLst>
      <p:ext uri="{19B8F6BF-5375-455C-9EA6-DF929625EA0E}">
        <p15:presenceInfo xmlns:p15="http://schemas.microsoft.com/office/powerpoint/2012/main" userId="Christian Rieke" providerId="None"/>
      </p:ext>
    </p:extLst>
  </p:cmAuthor>
  <p:cmAuthor id="2" name="HAL9000" initials="H" lastIdx="1" clrIdx="1">
    <p:extLst>
      <p:ext uri="{19B8F6BF-5375-455C-9EA6-DF929625EA0E}">
        <p15:presenceInfo xmlns:p15="http://schemas.microsoft.com/office/powerpoint/2012/main" userId="HAL9000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1AC"/>
    <a:srgbClr val="33CCCC"/>
    <a:srgbClr val="E2AC00"/>
    <a:srgbClr val="FF000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8" autoAdjust="0"/>
    <p:restoredTop sz="95238" autoAdjust="0"/>
  </p:normalViewPr>
  <p:slideViewPr>
    <p:cSldViewPr>
      <p:cViewPr varScale="1">
        <p:scale>
          <a:sx n="121" d="100"/>
          <a:sy n="121" d="100"/>
        </p:scale>
        <p:origin x="108" y="234"/>
      </p:cViewPr>
      <p:guideLst>
        <p:guide orient="horz" pos="2432"/>
        <p:guide pos="3235"/>
        <p:guide pos="7227"/>
        <p:guide pos="3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-3672" y="-10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589FD8-A075-4B30-85B7-99AB651CF1EB}" type="doc">
      <dgm:prSet loTypeId="urn:microsoft.com/office/officeart/2005/8/layout/orgChart1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4E37B2AC-2A53-4977-AA82-168FDD783EC2}">
      <dgm:prSet phldrT="[Text]" custT="1"/>
      <dgm:spPr/>
      <dgm:t>
        <a:bodyPr/>
        <a:lstStyle/>
        <a:p>
          <a:r>
            <a:rPr lang="de-DE" sz="1600" b="1" dirty="0">
              <a:latin typeface="Arial "/>
              <a:cs typeface="Arial" panose="020B0604020202020204" pitchFamily="34" charset="0"/>
            </a:rPr>
            <a:t>Energiedatenanalyse- Datamining</a:t>
          </a:r>
          <a:endParaRPr lang="de-DE" sz="1600" b="1" dirty="0">
            <a:latin typeface="Arial "/>
          </a:endParaRPr>
        </a:p>
      </dgm:t>
    </dgm:pt>
    <dgm:pt modelId="{6354C5B9-2A61-42A8-AECF-22461272EBA7}" type="parTrans" cxnId="{4E4622AD-6F5F-4D7F-8966-7715AF6B502B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A7E71BCA-EB07-4E94-9E1B-ECA734A2AE6A}" type="sibTrans" cxnId="{4E4622AD-6F5F-4D7F-8966-7715AF6B502B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94FB7E99-553E-4AFD-91AA-AB763A7883C0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Übergeordnete Themen</a:t>
          </a:r>
        </a:p>
      </dgm:t>
    </dgm:pt>
    <dgm:pt modelId="{07DB5E45-2FCA-44B1-972F-FA30ADEC6D2B}" type="parTrans" cxnId="{5897CFD7-9D88-4A67-9FB8-234E04B2498A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243C8432-E8C9-47F8-A73D-B66F9B3F6CC6}" type="sibTrans" cxnId="{5897CFD7-9D88-4A67-9FB8-234E04B2498A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F1D4ABBE-6F59-462F-944C-3D3F27589B61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Deskriptive Datenanalyse</a:t>
          </a:r>
        </a:p>
      </dgm:t>
    </dgm:pt>
    <dgm:pt modelId="{A447D68F-6414-4A0A-A3C1-D1C822CD3632}" type="parTrans" cxnId="{1157753E-C709-45F8-9D5A-65F3F63E463C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906CC2FD-1595-463E-AEBA-59694EAFE1B7}" type="sibTrans" cxnId="{1157753E-C709-45F8-9D5A-65F3F63E463C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D1F5AA81-C97B-4206-95AB-50BD86EDABA0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Modellauswahl</a:t>
          </a:r>
        </a:p>
      </dgm:t>
    </dgm:pt>
    <dgm:pt modelId="{42D5B9CE-E536-4164-87DD-48290B3535D3}" type="parTrans" cxnId="{8FF47672-8262-4C22-BC58-A152830AC129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AB83CBCC-8491-47D9-AABF-FF8B45884CF4}" type="sibTrans" cxnId="{8FF47672-8262-4C22-BC58-A152830AC129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7FC5AF2C-5AF3-4BDF-B704-9E30AAAA15D7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Klassische Regressions-verfahren</a:t>
          </a:r>
        </a:p>
      </dgm:t>
    </dgm:pt>
    <dgm:pt modelId="{946E6196-03CE-4871-A18D-0D404796E659}" type="parTrans" cxnId="{AF043C87-4D83-4E0A-9BAA-1BC29B382698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11DADA16-BF7A-4CC6-9A49-46B33AAA3003}" type="sibTrans" cxnId="{AF043C87-4D83-4E0A-9BAA-1BC29B382698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8C673B06-AC09-43F0-950B-45E2773538DD}">
      <dgm:prSet phldrT="[Text]" custT="1"/>
      <dgm:spPr>
        <a:solidFill>
          <a:schemeClr val="accent5"/>
        </a:solidFill>
      </dgm:spPr>
      <dgm:t>
        <a:bodyPr/>
        <a:lstStyle/>
        <a:p>
          <a:r>
            <a:rPr lang="de-DE" sz="1200" b="1" dirty="0">
              <a:latin typeface="Arial "/>
            </a:rPr>
            <a:t>Multivariate Lineare Regression</a:t>
          </a:r>
        </a:p>
      </dgm:t>
    </dgm:pt>
    <dgm:pt modelId="{CA082236-D7E4-4675-9AE9-7C614CF4B7F9}" type="parTrans" cxnId="{FB992290-87A9-49F9-9FF4-F2DAAD915D25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063FEAEE-82C3-4E06-84D0-BCB508E0F238}" type="sibTrans" cxnId="{FB992290-87A9-49F9-9FF4-F2DAAD915D25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7982E760-F06D-4E2D-8FEB-110793D27282}">
      <dgm:prSet phldrT="[Text]" custT="1"/>
      <dgm:spPr>
        <a:solidFill>
          <a:schemeClr val="accent5"/>
        </a:solidFill>
      </dgm:spPr>
      <dgm:t>
        <a:bodyPr/>
        <a:lstStyle/>
        <a:p>
          <a:r>
            <a:rPr lang="de-DE" sz="1200" b="1" dirty="0">
              <a:latin typeface="Arial "/>
            </a:rPr>
            <a:t>PCA-PLS-Regression</a:t>
          </a:r>
        </a:p>
      </dgm:t>
    </dgm:pt>
    <dgm:pt modelId="{A34A5624-73F5-4C7D-8E03-A2622B270633}" type="parTrans" cxnId="{A4300AFD-C690-4438-BD3E-72C1FBDFD554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B7A24121-C807-4D11-A3E4-2D1277ED4267}" type="sibTrans" cxnId="{A4300AFD-C690-4438-BD3E-72C1FBDFD554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1534E458-2771-4742-83ED-C76BD66966BB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Regression </a:t>
          </a:r>
          <a:br>
            <a:rPr lang="de-DE" sz="1200" b="1" dirty="0">
              <a:latin typeface="Arial "/>
            </a:rPr>
          </a:br>
          <a:r>
            <a:rPr lang="de-DE" sz="1200" b="1" dirty="0">
              <a:latin typeface="Arial "/>
            </a:rPr>
            <a:t>mit KNN</a:t>
          </a:r>
        </a:p>
      </dgm:t>
    </dgm:pt>
    <dgm:pt modelId="{04362A1D-4E60-4B98-A02B-F9CC2E69759F}" type="parTrans" cxnId="{FDF7493E-BB0D-4F3D-969E-393C4DADE61C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F7EDB223-F901-4395-A01C-5EEE3B18A0CC}" type="sibTrans" cxnId="{FDF7493E-BB0D-4F3D-969E-393C4DADE61C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DCEAB96E-0935-456E-B360-5BFFE30A68F1}">
      <dgm:prSet phldrT="[Text]" custT="1"/>
      <dgm:spPr>
        <a:solidFill>
          <a:srgbClr val="E2AC00"/>
        </a:solidFill>
      </dgm:spPr>
      <dgm:t>
        <a:bodyPr/>
        <a:lstStyle/>
        <a:p>
          <a:r>
            <a:rPr lang="de-DE" sz="1200" b="1" dirty="0">
              <a:latin typeface="Arial "/>
            </a:rPr>
            <a:t>Neuronale </a:t>
          </a:r>
        </a:p>
        <a:p>
          <a:r>
            <a:rPr lang="de-DE" sz="1200" b="1" dirty="0">
              <a:latin typeface="Arial "/>
            </a:rPr>
            <a:t>Netze Feedforward</a:t>
          </a:r>
        </a:p>
      </dgm:t>
    </dgm:pt>
    <dgm:pt modelId="{8AE967B1-7CBC-4727-8B0F-A941C7C17660}" type="parTrans" cxnId="{705A369C-6684-43CA-A805-BB0B40C2147C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CA43E58D-BD08-4375-90B8-23F0CB97B5F4}" type="sibTrans" cxnId="{705A369C-6684-43CA-A805-BB0B40C2147C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D45B4FC2-83EE-4D91-A753-882C6B6B3DE8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Clustering/ Datenreduktion</a:t>
          </a:r>
        </a:p>
      </dgm:t>
    </dgm:pt>
    <dgm:pt modelId="{61C160EF-85CE-4DC4-AC68-E2C380FEC2F1}" type="parTrans" cxnId="{BDBE4FFA-2597-49CC-B62E-6D1FB1DA1357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CC9920D7-F733-4416-8172-F71C49D1C40E}" type="sibTrans" cxnId="{BDBE4FFA-2597-49CC-B62E-6D1FB1DA1357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C376833E-3E62-4402-B624-B833EE143A7F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Principle Component Analyse (PCA)</a:t>
          </a:r>
        </a:p>
      </dgm:t>
    </dgm:pt>
    <dgm:pt modelId="{0BDB8C61-37D2-4A1B-AA88-9C34F6617322}" type="parTrans" cxnId="{B47CC0E1-56C5-4F5F-900C-B96869F05D05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526632AE-C4D4-4510-88DB-5298AA606FBC}" type="sibTrans" cxnId="{B47CC0E1-56C5-4F5F-900C-B96869F05D05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309C09E8-0453-4287-84EA-7645C3BCCB07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K-Means, Hierarchical Clustering</a:t>
          </a:r>
        </a:p>
      </dgm:t>
    </dgm:pt>
    <dgm:pt modelId="{59B4794B-51AC-4E72-9C58-0F1943AEF53B}" type="parTrans" cxnId="{F34AEDD8-C635-4AFB-A9A0-888A6504E013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F8B8860E-963D-4D6B-8092-7A04A21E2096}" type="sibTrans" cxnId="{F34AEDD8-C635-4AFB-A9A0-888A6504E013}">
      <dgm:prSet/>
      <dgm:spPr/>
      <dgm:t>
        <a:bodyPr/>
        <a:lstStyle/>
        <a:p>
          <a:endParaRPr lang="de-DE" sz="1200" b="1">
            <a:latin typeface="Arial "/>
          </a:endParaRPr>
        </a:p>
      </dgm:t>
    </dgm:pt>
    <dgm:pt modelId="{F453C166-387C-4B65-8F8D-F92E493DB225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Überblick Machine Learning</a:t>
          </a:r>
        </a:p>
      </dgm:t>
    </dgm:pt>
    <dgm:pt modelId="{EAD6DC30-01E0-463A-A738-472FA319BC0C}" type="parTrans" cxnId="{4F66BE92-7C36-4ADE-99C3-AAA281B0AEFF}">
      <dgm:prSet/>
      <dgm:spPr/>
      <dgm:t>
        <a:bodyPr/>
        <a:lstStyle/>
        <a:p>
          <a:endParaRPr lang="de-DE"/>
        </a:p>
      </dgm:t>
    </dgm:pt>
    <dgm:pt modelId="{86893170-204C-4FA6-B5CA-22A6168D16C5}" type="sibTrans" cxnId="{4F66BE92-7C36-4ADE-99C3-AAA281B0AEFF}">
      <dgm:prSet/>
      <dgm:spPr/>
      <dgm:t>
        <a:bodyPr/>
        <a:lstStyle/>
        <a:p>
          <a:endParaRPr lang="de-DE"/>
        </a:p>
      </dgm:t>
    </dgm:pt>
    <dgm:pt modelId="{927D72C5-1662-42F5-B624-8C68032D131B}">
      <dgm:prSet phldrT="[Text]" custT="1"/>
      <dgm:spPr/>
      <dgm:t>
        <a:bodyPr/>
        <a:lstStyle/>
        <a:p>
          <a:r>
            <a:rPr lang="de-DE" sz="1200" b="1" dirty="0" err="1">
              <a:latin typeface="Arial "/>
            </a:rPr>
            <a:t>Rekurrente</a:t>
          </a:r>
          <a:r>
            <a:rPr lang="de-DE" sz="1200" b="1" dirty="0">
              <a:latin typeface="Arial "/>
            </a:rPr>
            <a:t> Neuronale Netze (LSTM)</a:t>
          </a:r>
        </a:p>
      </dgm:t>
    </dgm:pt>
    <dgm:pt modelId="{8C0B97AB-05E2-474F-A63B-483B2EF4816D}" type="parTrans" cxnId="{FBA98DE7-0D65-406E-AF88-E520A7E2B563}">
      <dgm:prSet/>
      <dgm:spPr/>
      <dgm:t>
        <a:bodyPr/>
        <a:lstStyle/>
        <a:p>
          <a:endParaRPr lang="de-DE"/>
        </a:p>
      </dgm:t>
    </dgm:pt>
    <dgm:pt modelId="{2334980C-AF6F-47A5-A02D-4D7A25576FF2}" type="sibTrans" cxnId="{FBA98DE7-0D65-406E-AF88-E520A7E2B563}">
      <dgm:prSet/>
      <dgm:spPr/>
      <dgm:t>
        <a:bodyPr/>
        <a:lstStyle/>
        <a:p>
          <a:endParaRPr lang="de-DE"/>
        </a:p>
      </dgm:t>
    </dgm:pt>
    <dgm:pt modelId="{0EC4EBCD-E340-4FA2-8DAC-C14A25B8CA3B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Autoencoder</a:t>
          </a:r>
        </a:p>
      </dgm:t>
    </dgm:pt>
    <dgm:pt modelId="{237BB484-7311-49F5-968B-C5BC05868FCB}" type="parTrans" cxnId="{507194A9-BD5C-4226-A9A3-E3ED2F3D3FCD}">
      <dgm:prSet/>
      <dgm:spPr/>
      <dgm:t>
        <a:bodyPr/>
        <a:lstStyle/>
        <a:p>
          <a:endParaRPr lang="de-DE"/>
        </a:p>
      </dgm:t>
    </dgm:pt>
    <dgm:pt modelId="{81AD6406-3D0F-4D77-BB0C-BC504355672E}" type="sibTrans" cxnId="{507194A9-BD5C-4226-A9A3-E3ED2F3D3FCD}">
      <dgm:prSet/>
      <dgm:spPr/>
      <dgm:t>
        <a:bodyPr/>
        <a:lstStyle/>
        <a:p>
          <a:endParaRPr lang="de-DE"/>
        </a:p>
      </dgm:t>
    </dgm:pt>
    <dgm:pt modelId="{730488B2-AC68-4158-86B6-B90347C528CE}">
      <dgm:prSet phldrT="[Text]" custT="1"/>
      <dgm:spPr/>
      <dgm:t>
        <a:bodyPr/>
        <a:lstStyle/>
        <a:p>
          <a:r>
            <a:rPr lang="de-DE" sz="1200" b="1">
              <a:latin typeface="Arial "/>
            </a:rPr>
            <a:t>Polynome, Splines, lokale Regression</a:t>
          </a:r>
          <a:endParaRPr lang="de-DE" sz="1200" b="1" dirty="0">
            <a:latin typeface="Arial "/>
          </a:endParaRPr>
        </a:p>
      </dgm:t>
    </dgm:pt>
    <dgm:pt modelId="{6651ACD3-906F-46A2-A6C7-ADD6C49DFF04}" type="parTrans" cxnId="{7B7943A1-12DC-4A74-932F-895EC0E64E1E}">
      <dgm:prSet/>
      <dgm:spPr/>
      <dgm:t>
        <a:bodyPr/>
        <a:lstStyle/>
        <a:p>
          <a:endParaRPr lang="de-DE"/>
        </a:p>
      </dgm:t>
    </dgm:pt>
    <dgm:pt modelId="{F552A900-859F-44B5-A8AA-2D8140906FD2}" type="sibTrans" cxnId="{7B7943A1-12DC-4A74-932F-895EC0E64E1E}">
      <dgm:prSet/>
      <dgm:spPr/>
      <dgm:t>
        <a:bodyPr/>
        <a:lstStyle/>
        <a:p>
          <a:endParaRPr lang="de-DE"/>
        </a:p>
      </dgm:t>
    </dgm:pt>
    <dgm:pt modelId="{72365ABE-8489-4373-B036-8C8D74974072}">
      <dgm:prSet phldrT="[Text]" custT="1"/>
      <dgm:spPr/>
      <dgm:t>
        <a:bodyPr/>
        <a:lstStyle/>
        <a:p>
          <a:r>
            <a:rPr lang="de-DE" sz="1200" b="1" dirty="0" err="1">
              <a:latin typeface="Arial "/>
            </a:rPr>
            <a:t>Convolutionale</a:t>
          </a:r>
          <a:r>
            <a:rPr lang="de-DE" sz="1200" b="1" dirty="0">
              <a:latin typeface="Arial "/>
            </a:rPr>
            <a:t> Neuronale Netze CNN</a:t>
          </a:r>
        </a:p>
      </dgm:t>
    </dgm:pt>
    <dgm:pt modelId="{EA722895-FA0B-4E59-96B6-650A5F39A8FB}" type="parTrans" cxnId="{A6127068-5F72-4682-B246-CECE607B7382}">
      <dgm:prSet/>
      <dgm:spPr/>
      <dgm:t>
        <a:bodyPr/>
        <a:lstStyle/>
        <a:p>
          <a:endParaRPr lang="de-DE"/>
        </a:p>
      </dgm:t>
    </dgm:pt>
    <dgm:pt modelId="{18EB4008-BCC1-4AFF-AACB-A56A4CED917C}" type="sibTrans" cxnId="{A6127068-5F72-4682-B246-CECE607B7382}">
      <dgm:prSet/>
      <dgm:spPr/>
      <dgm:t>
        <a:bodyPr/>
        <a:lstStyle/>
        <a:p>
          <a:endParaRPr lang="de-DE"/>
        </a:p>
      </dgm:t>
    </dgm:pt>
    <dgm:pt modelId="{0B51D6A0-B641-4FF9-AD9C-8E2688D06AE0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Klassifizierung</a:t>
          </a:r>
        </a:p>
      </dgm:t>
    </dgm:pt>
    <dgm:pt modelId="{380CCC37-729E-4E88-B029-B0ACFD688041}" type="parTrans" cxnId="{E29A5FAA-02D5-40E8-9570-68D28D720F82}">
      <dgm:prSet/>
      <dgm:spPr/>
      <dgm:t>
        <a:bodyPr/>
        <a:lstStyle/>
        <a:p>
          <a:endParaRPr lang="de-DE"/>
        </a:p>
      </dgm:t>
    </dgm:pt>
    <dgm:pt modelId="{BF12574E-C0AB-4D4C-A769-CE2FD9385FC5}" type="sibTrans" cxnId="{E29A5FAA-02D5-40E8-9570-68D28D720F82}">
      <dgm:prSet/>
      <dgm:spPr/>
      <dgm:t>
        <a:bodyPr/>
        <a:lstStyle/>
        <a:p>
          <a:endParaRPr lang="de-DE"/>
        </a:p>
      </dgm:t>
    </dgm:pt>
    <dgm:pt modelId="{EF62CC2B-31AC-4EB8-8D0C-544C33500950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K-nearest, </a:t>
          </a:r>
          <a:r>
            <a:rPr lang="de-DE" sz="1200" b="1" dirty="0" err="1">
              <a:latin typeface="Arial "/>
            </a:rPr>
            <a:t>Bayses</a:t>
          </a:r>
          <a:r>
            <a:rPr lang="de-DE" sz="1200" b="1" dirty="0">
              <a:latin typeface="Arial "/>
            </a:rPr>
            <a:t> Ansatz</a:t>
          </a:r>
        </a:p>
      </dgm:t>
    </dgm:pt>
    <dgm:pt modelId="{41B498C3-8845-4E7A-863C-B359A5D4F51D}" type="parTrans" cxnId="{CA4B06AE-0D0C-4E2E-A04E-22713F63903D}">
      <dgm:prSet/>
      <dgm:spPr/>
      <dgm:t>
        <a:bodyPr/>
        <a:lstStyle/>
        <a:p>
          <a:endParaRPr lang="de-DE"/>
        </a:p>
      </dgm:t>
    </dgm:pt>
    <dgm:pt modelId="{365248D5-A3D5-42D4-BB74-986D83F2D77D}" type="sibTrans" cxnId="{CA4B06AE-0D0C-4E2E-A04E-22713F63903D}">
      <dgm:prSet/>
      <dgm:spPr/>
      <dgm:t>
        <a:bodyPr/>
        <a:lstStyle/>
        <a:p>
          <a:endParaRPr lang="de-DE"/>
        </a:p>
      </dgm:t>
    </dgm:pt>
    <dgm:pt modelId="{419B3787-E198-4794-A3BB-DDFE3FAC98DC}">
      <dgm:prSet phldrT="[Text]" custT="1"/>
      <dgm:spPr/>
      <dgm:t>
        <a:bodyPr/>
        <a:lstStyle/>
        <a:p>
          <a:r>
            <a:rPr lang="de-DE" sz="1200" b="1" dirty="0" err="1">
              <a:latin typeface="Arial "/>
            </a:rPr>
            <a:t>Rekurrente</a:t>
          </a:r>
          <a:r>
            <a:rPr lang="de-DE" sz="1200" b="1" dirty="0">
              <a:latin typeface="Arial "/>
            </a:rPr>
            <a:t>/ </a:t>
          </a:r>
          <a:r>
            <a:rPr lang="de-DE" sz="1200" b="1" dirty="0" err="1">
              <a:latin typeface="Arial "/>
            </a:rPr>
            <a:t>Convolutionale</a:t>
          </a:r>
          <a:r>
            <a:rPr lang="de-DE" sz="1200" b="1" dirty="0">
              <a:latin typeface="Arial "/>
            </a:rPr>
            <a:t> KNN</a:t>
          </a:r>
        </a:p>
      </dgm:t>
    </dgm:pt>
    <dgm:pt modelId="{80793BB8-DB7C-49BA-8097-D8B444118C5D}" type="parTrans" cxnId="{E32953C4-D07F-44E1-9729-F59F9B89C4EB}">
      <dgm:prSet/>
      <dgm:spPr/>
      <dgm:t>
        <a:bodyPr/>
        <a:lstStyle/>
        <a:p>
          <a:endParaRPr lang="de-DE"/>
        </a:p>
      </dgm:t>
    </dgm:pt>
    <dgm:pt modelId="{FA704027-0471-47D9-A209-E8A266F2C1A9}" type="sibTrans" cxnId="{E32953C4-D07F-44E1-9729-F59F9B89C4EB}">
      <dgm:prSet/>
      <dgm:spPr/>
      <dgm:t>
        <a:bodyPr/>
        <a:lstStyle/>
        <a:p>
          <a:endParaRPr lang="de-DE"/>
        </a:p>
      </dgm:t>
    </dgm:pt>
    <dgm:pt modelId="{DFA8FCB6-AC14-46FB-966B-FBD80C801AD0}">
      <dgm:prSet phldrT="[Text]" custT="1"/>
      <dgm:spPr/>
      <dgm:t>
        <a:bodyPr/>
        <a:lstStyle/>
        <a:p>
          <a:r>
            <a:rPr lang="de-DE" sz="1200" b="1" dirty="0">
              <a:latin typeface="Arial "/>
            </a:rPr>
            <a:t>Temporal </a:t>
          </a:r>
          <a:r>
            <a:rPr lang="de-DE" sz="1200" b="1" dirty="0" err="1">
              <a:latin typeface="Arial "/>
            </a:rPr>
            <a:t>fusion</a:t>
          </a:r>
          <a:r>
            <a:rPr lang="de-DE" sz="1200" b="1" dirty="0">
              <a:latin typeface="Arial "/>
            </a:rPr>
            <a:t> Transformer</a:t>
          </a:r>
        </a:p>
      </dgm:t>
    </dgm:pt>
    <dgm:pt modelId="{0E163C80-066C-49FA-9041-2F87DA0DA284}" type="parTrans" cxnId="{D4BE2642-088B-4797-AEBF-E44F936950DC}">
      <dgm:prSet/>
      <dgm:spPr/>
      <dgm:t>
        <a:bodyPr/>
        <a:lstStyle/>
        <a:p>
          <a:endParaRPr lang="de-DE"/>
        </a:p>
      </dgm:t>
    </dgm:pt>
    <dgm:pt modelId="{AB794E13-EE28-4C0E-BA92-1593F4DD596B}" type="sibTrans" cxnId="{D4BE2642-088B-4797-AEBF-E44F936950DC}">
      <dgm:prSet/>
      <dgm:spPr/>
      <dgm:t>
        <a:bodyPr/>
        <a:lstStyle/>
        <a:p>
          <a:endParaRPr lang="de-DE"/>
        </a:p>
      </dgm:t>
    </dgm:pt>
    <dgm:pt modelId="{5279A026-5D62-4AEA-8537-62CE5F1156DE}" type="pres">
      <dgm:prSet presAssocID="{60589FD8-A075-4B30-85B7-99AB651CF1EB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4DE44CB9-D8EE-40A4-812A-F0F70C16AC63}" type="pres">
      <dgm:prSet presAssocID="{4E37B2AC-2A53-4977-AA82-168FDD783EC2}" presName="hierRoot1" presStyleCnt="0">
        <dgm:presLayoutVars>
          <dgm:hierBranch val="init"/>
        </dgm:presLayoutVars>
      </dgm:prSet>
      <dgm:spPr/>
    </dgm:pt>
    <dgm:pt modelId="{137BDDB9-B256-400E-9300-D8AC13D0EC23}" type="pres">
      <dgm:prSet presAssocID="{4E37B2AC-2A53-4977-AA82-168FDD783EC2}" presName="rootComposite1" presStyleCnt="0"/>
      <dgm:spPr/>
    </dgm:pt>
    <dgm:pt modelId="{E5BDD1BF-DC39-4A16-AD41-260AE14ED4E6}" type="pres">
      <dgm:prSet presAssocID="{4E37B2AC-2A53-4977-AA82-168FDD783EC2}" presName="rootText1" presStyleLbl="node0" presStyleIdx="0" presStyleCnt="1" custScaleX="399509" custScaleY="72058">
        <dgm:presLayoutVars>
          <dgm:chPref val="3"/>
        </dgm:presLayoutVars>
      </dgm:prSet>
      <dgm:spPr/>
    </dgm:pt>
    <dgm:pt modelId="{935CFBD6-DAC5-4095-BDA5-B7F716F7033B}" type="pres">
      <dgm:prSet presAssocID="{4E37B2AC-2A53-4977-AA82-168FDD783EC2}" presName="rootConnector1" presStyleLbl="node1" presStyleIdx="0" presStyleCnt="0"/>
      <dgm:spPr/>
    </dgm:pt>
    <dgm:pt modelId="{B0572F56-F9F7-4D78-A162-40088E6C4714}" type="pres">
      <dgm:prSet presAssocID="{4E37B2AC-2A53-4977-AA82-168FDD783EC2}" presName="hierChild2" presStyleCnt="0"/>
      <dgm:spPr/>
    </dgm:pt>
    <dgm:pt modelId="{15217F90-DFEE-4E94-9A26-8DD985F15226}" type="pres">
      <dgm:prSet presAssocID="{07DB5E45-2FCA-44B1-972F-FA30ADEC6D2B}" presName="Name37" presStyleLbl="parChTrans1D2" presStyleIdx="0" presStyleCnt="5"/>
      <dgm:spPr/>
    </dgm:pt>
    <dgm:pt modelId="{62AED7FE-8B66-46B5-BEEF-8DC0878777D8}" type="pres">
      <dgm:prSet presAssocID="{94FB7E99-553E-4AFD-91AA-AB763A7883C0}" presName="hierRoot2" presStyleCnt="0">
        <dgm:presLayoutVars>
          <dgm:hierBranch val="init"/>
        </dgm:presLayoutVars>
      </dgm:prSet>
      <dgm:spPr/>
    </dgm:pt>
    <dgm:pt modelId="{10A9DF53-1B2D-40F8-B2DB-9D6B43345DF6}" type="pres">
      <dgm:prSet presAssocID="{94FB7E99-553E-4AFD-91AA-AB763A7883C0}" presName="rootComposite" presStyleCnt="0"/>
      <dgm:spPr/>
    </dgm:pt>
    <dgm:pt modelId="{4976CF45-DAE0-476E-8F98-023762674585}" type="pres">
      <dgm:prSet presAssocID="{94FB7E99-553E-4AFD-91AA-AB763A7883C0}" presName="rootText" presStyleLbl="node2" presStyleIdx="0" presStyleCnt="5">
        <dgm:presLayoutVars>
          <dgm:chPref val="3"/>
        </dgm:presLayoutVars>
      </dgm:prSet>
      <dgm:spPr/>
    </dgm:pt>
    <dgm:pt modelId="{921AAF04-098D-4199-825E-2486D1DB8D00}" type="pres">
      <dgm:prSet presAssocID="{94FB7E99-553E-4AFD-91AA-AB763A7883C0}" presName="rootConnector" presStyleLbl="node2" presStyleIdx="0" presStyleCnt="5"/>
      <dgm:spPr/>
    </dgm:pt>
    <dgm:pt modelId="{4892401D-3638-41C2-A48B-2486B1771E96}" type="pres">
      <dgm:prSet presAssocID="{94FB7E99-553E-4AFD-91AA-AB763A7883C0}" presName="hierChild4" presStyleCnt="0"/>
      <dgm:spPr/>
    </dgm:pt>
    <dgm:pt modelId="{D9C275B2-7DA6-4BFD-8A45-9C215050ACB2}" type="pres">
      <dgm:prSet presAssocID="{EAD6DC30-01E0-463A-A738-472FA319BC0C}" presName="Name37" presStyleLbl="parChTrans1D3" presStyleIdx="0" presStyleCnt="15"/>
      <dgm:spPr/>
    </dgm:pt>
    <dgm:pt modelId="{395A03AE-E279-456F-9CCB-5E965A030E79}" type="pres">
      <dgm:prSet presAssocID="{F453C166-387C-4B65-8F8D-F92E493DB225}" presName="hierRoot2" presStyleCnt="0">
        <dgm:presLayoutVars>
          <dgm:hierBranch val="init"/>
        </dgm:presLayoutVars>
      </dgm:prSet>
      <dgm:spPr/>
    </dgm:pt>
    <dgm:pt modelId="{31B74FD2-7496-4515-9EC4-3FCDBCEA3B52}" type="pres">
      <dgm:prSet presAssocID="{F453C166-387C-4B65-8F8D-F92E493DB225}" presName="rootComposite" presStyleCnt="0"/>
      <dgm:spPr/>
    </dgm:pt>
    <dgm:pt modelId="{60EF91F8-EF2F-4B4D-B27B-14D4ADCFF2B5}" type="pres">
      <dgm:prSet presAssocID="{F453C166-387C-4B65-8F8D-F92E493DB225}" presName="rootText" presStyleLbl="node3" presStyleIdx="0" presStyleCnt="15">
        <dgm:presLayoutVars>
          <dgm:chPref val="3"/>
        </dgm:presLayoutVars>
      </dgm:prSet>
      <dgm:spPr/>
    </dgm:pt>
    <dgm:pt modelId="{D6580401-3E23-4044-A39E-F17EA11DAA8C}" type="pres">
      <dgm:prSet presAssocID="{F453C166-387C-4B65-8F8D-F92E493DB225}" presName="rootConnector" presStyleLbl="node3" presStyleIdx="0" presStyleCnt="15"/>
      <dgm:spPr/>
    </dgm:pt>
    <dgm:pt modelId="{C91EFC91-C119-444A-B84F-6E2B3A7198AB}" type="pres">
      <dgm:prSet presAssocID="{F453C166-387C-4B65-8F8D-F92E493DB225}" presName="hierChild4" presStyleCnt="0"/>
      <dgm:spPr/>
    </dgm:pt>
    <dgm:pt modelId="{6864061C-6638-4E50-B2D6-E197AFCE5352}" type="pres">
      <dgm:prSet presAssocID="{F453C166-387C-4B65-8F8D-F92E493DB225}" presName="hierChild5" presStyleCnt="0"/>
      <dgm:spPr/>
    </dgm:pt>
    <dgm:pt modelId="{C07A26EB-E764-4593-B288-D79A4BB185F2}" type="pres">
      <dgm:prSet presAssocID="{A447D68F-6414-4A0A-A3C1-D1C822CD3632}" presName="Name37" presStyleLbl="parChTrans1D3" presStyleIdx="1" presStyleCnt="15"/>
      <dgm:spPr/>
    </dgm:pt>
    <dgm:pt modelId="{6CD14F06-A95B-4C05-B566-83490D684B4A}" type="pres">
      <dgm:prSet presAssocID="{F1D4ABBE-6F59-462F-944C-3D3F27589B61}" presName="hierRoot2" presStyleCnt="0">
        <dgm:presLayoutVars>
          <dgm:hierBranch val="init"/>
        </dgm:presLayoutVars>
      </dgm:prSet>
      <dgm:spPr/>
    </dgm:pt>
    <dgm:pt modelId="{2651C4E9-99F5-42CD-97CF-675C2EAF505D}" type="pres">
      <dgm:prSet presAssocID="{F1D4ABBE-6F59-462F-944C-3D3F27589B61}" presName="rootComposite" presStyleCnt="0"/>
      <dgm:spPr/>
    </dgm:pt>
    <dgm:pt modelId="{6F4C2235-A6C4-4479-BBE4-82FC3A444133}" type="pres">
      <dgm:prSet presAssocID="{F1D4ABBE-6F59-462F-944C-3D3F27589B61}" presName="rootText" presStyleLbl="node3" presStyleIdx="1" presStyleCnt="15">
        <dgm:presLayoutVars>
          <dgm:chPref val="3"/>
        </dgm:presLayoutVars>
      </dgm:prSet>
      <dgm:spPr/>
    </dgm:pt>
    <dgm:pt modelId="{2CECA5F6-47A6-4FA1-86EB-1F62B1CD87B6}" type="pres">
      <dgm:prSet presAssocID="{F1D4ABBE-6F59-462F-944C-3D3F27589B61}" presName="rootConnector" presStyleLbl="node3" presStyleIdx="1" presStyleCnt="15"/>
      <dgm:spPr/>
    </dgm:pt>
    <dgm:pt modelId="{721786AD-5D0E-46BD-8AAD-1840B231ADC6}" type="pres">
      <dgm:prSet presAssocID="{F1D4ABBE-6F59-462F-944C-3D3F27589B61}" presName="hierChild4" presStyleCnt="0"/>
      <dgm:spPr/>
    </dgm:pt>
    <dgm:pt modelId="{DF91C34A-3435-41DC-9E32-B3E1D697E87E}" type="pres">
      <dgm:prSet presAssocID="{F1D4ABBE-6F59-462F-944C-3D3F27589B61}" presName="hierChild5" presStyleCnt="0"/>
      <dgm:spPr/>
    </dgm:pt>
    <dgm:pt modelId="{217637AC-FE18-4DA2-94F0-BE029A6EC09A}" type="pres">
      <dgm:prSet presAssocID="{42D5B9CE-E536-4164-87DD-48290B3535D3}" presName="Name37" presStyleLbl="parChTrans1D3" presStyleIdx="2" presStyleCnt="15"/>
      <dgm:spPr/>
    </dgm:pt>
    <dgm:pt modelId="{BAFF4A57-B83F-4F3D-8CFB-2DC9969A1FCF}" type="pres">
      <dgm:prSet presAssocID="{D1F5AA81-C97B-4206-95AB-50BD86EDABA0}" presName="hierRoot2" presStyleCnt="0">
        <dgm:presLayoutVars>
          <dgm:hierBranch val="init"/>
        </dgm:presLayoutVars>
      </dgm:prSet>
      <dgm:spPr/>
    </dgm:pt>
    <dgm:pt modelId="{310C08DD-2EF0-4167-B014-E6B935BE3847}" type="pres">
      <dgm:prSet presAssocID="{D1F5AA81-C97B-4206-95AB-50BD86EDABA0}" presName="rootComposite" presStyleCnt="0"/>
      <dgm:spPr/>
    </dgm:pt>
    <dgm:pt modelId="{DF7855C9-FD4F-4B85-8546-5B9603AC37C9}" type="pres">
      <dgm:prSet presAssocID="{D1F5AA81-C97B-4206-95AB-50BD86EDABA0}" presName="rootText" presStyleLbl="node3" presStyleIdx="2" presStyleCnt="15">
        <dgm:presLayoutVars>
          <dgm:chPref val="3"/>
        </dgm:presLayoutVars>
      </dgm:prSet>
      <dgm:spPr/>
    </dgm:pt>
    <dgm:pt modelId="{D7EC342E-15FA-41FC-A7D3-AE7B395C4E54}" type="pres">
      <dgm:prSet presAssocID="{D1F5AA81-C97B-4206-95AB-50BD86EDABA0}" presName="rootConnector" presStyleLbl="node3" presStyleIdx="2" presStyleCnt="15"/>
      <dgm:spPr/>
    </dgm:pt>
    <dgm:pt modelId="{D8ED4F14-7E2F-4F28-A25A-F9508F8BF700}" type="pres">
      <dgm:prSet presAssocID="{D1F5AA81-C97B-4206-95AB-50BD86EDABA0}" presName="hierChild4" presStyleCnt="0"/>
      <dgm:spPr/>
    </dgm:pt>
    <dgm:pt modelId="{FB6D12FE-A1C2-4374-972E-3C1EB63EB519}" type="pres">
      <dgm:prSet presAssocID="{D1F5AA81-C97B-4206-95AB-50BD86EDABA0}" presName="hierChild5" presStyleCnt="0"/>
      <dgm:spPr/>
    </dgm:pt>
    <dgm:pt modelId="{93D4ABC9-99A8-4191-BBE0-ADCE3D7ACD02}" type="pres">
      <dgm:prSet presAssocID="{94FB7E99-553E-4AFD-91AA-AB763A7883C0}" presName="hierChild5" presStyleCnt="0"/>
      <dgm:spPr/>
    </dgm:pt>
    <dgm:pt modelId="{A2504DB7-8904-4A62-BB35-325BF38AFF5E}" type="pres">
      <dgm:prSet presAssocID="{946E6196-03CE-4871-A18D-0D404796E659}" presName="Name37" presStyleLbl="parChTrans1D2" presStyleIdx="1" presStyleCnt="5"/>
      <dgm:spPr/>
    </dgm:pt>
    <dgm:pt modelId="{6DD5B6F9-06FD-445C-BCE0-C9F42E327EBC}" type="pres">
      <dgm:prSet presAssocID="{7FC5AF2C-5AF3-4BDF-B704-9E30AAAA15D7}" presName="hierRoot2" presStyleCnt="0">
        <dgm:presLayoutVars>
          <dgm:hierBranch val="init"/>
        </dgm:presLayoutVars>
      </dgm:prSet>
      <dgm:spPr/>
    </dgm:pt>
    <dgm:pt modelId="{653914FB-846C-4015-A7A9-01561921B4BE}" type="pres">
      <dgm:prSet presAssocID="{7FC5AF2C-5AF3-4BDF-B704-9E30AAAA15D7}" presName="rootComposite" presStyleCnt="0"/>
      <dgm:spPr/>
    </dgm:pt>
    <dgm:pt modelId="{28D961AF-8D39-443F-BC18-894FBABC3852}" type="pres">
      <dgm:prSet presAssocID="{7FC5AF2C-5AF3-4BDF-B704-9E30AAAA15D7}" presName="rootText" presStyleLbl="node2" presStyleIdx="1" presStyleCnt="5">
        <dgm:presLayoutVars>
          <dgm:chPref val="3"/>
        </dgm:presLayoutVars>
      </dgm:prSet>
      <dgm:spPr/>
    </dgm:pt>
    <dgm:pt modelId="{67BFB017-35E6-40F2-8F81-EE3429D5F7D2}" type="pres">
      <dgm:prSet presAssocID="{7FC5AF2C-5AF3-4BDF-B704-9E30AAAA15D7}" presName="rootConnector" presStyleLbl="node2" presStyleIdx="1" presStyleCnt="5"/>
      <dgm:spPr/>
    </dgm:pt>
    <dgm:pt modelId="{F7D098C5-6EB4-4A6E-89BD-C89722BBF764}" type="pres">
      <dgm:prSet presAssocID="{7FC5AF2C-5AF3-4BDF-B704-9E30AAAA15D7}" presName="hierChild4" presStyleCnt="0"/>
      <dgm:spPr/>
    </dgm:pt>
    <dgm:pt modelId="{6854DB14-3D99-468B-AC16-BB4A1902D05D}" type="pres">
      <dgm:prSet presAssocID="{CA082236-D7E4-4675-9AE9-7C614CF4B7F9}" presName="Name37" presStyleLbl="parChTrans1D3" presStyleIdx="3" presStyleCnt="15"/>
      <dgm:spPr/>
    </dgm:pt>
    <dgm:pt modelId="{F5A9D455-660C-4920-B5E3-60AB92A65BD0}" type="pres">
      <dgm:prSet presAssocID="{8C673B06-AC09-43F0-950B-45E2773538DD}" presName="hierRoot2" presStyleCnt="0">
        <dgm:presLayoutVars>
          <dgm:hierBranch val="init"/>
        </dgm:presLayoutVars>
      </dgm:prSet>
      <dgm:spPr/>
    </dgm:pt>
    <dgm:pt modelId="{B6E47477-4C0B-4A7C-96B7-41D72B76ABD1}" type="pres">
      <dgm:prSet presAssocID="{8C673B06-AC09-43F0-950B-45E2773538DD}" presName="rootComposite" presStyleCnt="0"/>
      <dgm:spPr/>
    </dgm:pt>
    <dgm:pt modelId="{46B182E1-56B0-423C-B8FE-9A62D154983E}" type="pres">
      <dgm:prSet presAssocID="{8C673B06-AC09-43F0-950B-45E2773538DD}" presName="rootText" presStyleLbl="node3" presStyleIdx="3" presStyleCnt="15">
        <dgm:presLayoutVars>
          <dgm:chPref val="3"/>
        </dgm:presLayoutVars>
      </dgm:prSet>
      <dgm:spPr/>
    </dgm:pt>
    <dgm:pt modelId="{E9FC7325-B1D8-4C51-8063-CCBF8B43AAE4}" type="pres">
      <dgm:prSet presAssocID="{8C673B06-AC09-43F0-950B-45E2773538DD}" presName="rootConnector" presStyleLbl="node3" presStyleIdx="3" presStyleCnt="15"/>
      <dgm:spPr/>
    </dgm:pt>
    <dgm:pt modelId="{C031B727-DA4B-4518-8F86-40B797139BCD}" type="pres">
      <dgm:prSet presAssocID="{8C673B06-AC09-43F0-950B-45E2773538DD}" presName="hierChild4" presStyleCnt="0"/>
      <dgm:spPr/>
    </dgm:pt>
    <dgm:pt modelId="{2692508A-39DE-460B-92C9-32311FAE0776}" type="pres">
      <dgm:prSet presAssocID="{8C673B06-AC09-43F0-950B-45E2773538DD}" presName="hierChild5" presStyleCnt="0"/>
      <dgm:spPr/>
    </dgm:pt>
    <dgm:pt modelId="{0DA0B410-9F94-4D4A-9933-4E1483CFD6B5}" type="pres">
      <dgm:prSet presAssocID="{A34A5624-73F5-4C7D-8E03-A2622B270633}" presName="Name37" presStyleLbl="parChTrans1D3" presStyleIdx="4" presStyleCnt="15"/>
      <dgm:spPr/>
    </dgm:pt>
    <dgm:pt modelId="{651ADF91-8E8C-4FE5-8C26-98A69974EFD7}" type="pres">
      <dgm:prSet presAssocID="{7982E760-F06D-4E2D-8FEB-110793D27282}" presName="hierRoot2" presStyleCnt="0">
        <dgm:presLayoutVars>
          <dgm:hierBranch val="init"/>
        </dgm:presLayoutVars>
      </dgm:prSet>
      <dgm:spPr/>
    </dgm:pt>
    <dgm:pt modelId="{D6713246-885C-41EC-B18C-4A43D1079A84}" type="pres">
      <dgm:prSet presAssocID="{7982E760-F06D-4E2D-8FEB-110793D27282}" presName="rootComposite" presStyleCnt="0"/>
      <dgm:spPr/>
    </dgm:pt>
    <dgm:pt modelId="{B31B08C8-B11C-400F-831A-E7D97ECD39E3}" type="pres">
      <dgm:prSet presAssocID="{7982E760-F06D-4E2D-8FEB-110793D27282}" presName="rootText" presStyleLbl="node3" presStyleIdx="4" presStyleCnt="15">
        <dgm:presLayoutVars>
          <dgm:chPref val="3"/>
        </dgm:presLayoutVars>
      </dgm:prSet>
      <dgm:spPr/>
    </dgm:pt>
    <dgm:pt modelId="{7AD6FBED-243D-48BE-B962-44517963D6A3}" type="pres">
      <dgm:prSet presAssocID="{7982E760-F06D-4E2D-8FEB-110793D27282}" presName="rootConnector" presStyleLbl="node3" presStyleIdx="4" presStyleCnt="15"/>
      <dgm:spPr/>
    </dgm:pt>
    <dgm:pt modelId="{6616AA0F-9741-4F15-928D-CEAFA00E2387}" type="pres">
      <dgm:prSet presAssocID="{7982E760-F06D-4E2D-8FEB-110793D27282}" presName="hierChild4" presStyleCnt="0"/>
      <dgm:spPr/>
    </dgm:pt>
    <dgm:pt modelId="{9B3C58FF-03D3-4646-95DF-4211EB7B72D2}" type="pres">
      <dgm:prSet presAssocID="{7982E760-F06D-4E2D-8FEB-110793D27282}" presName="hierChild5" presStyleCnt="0"/>
      <dgm:spPr/>
    </dgm:pt>
    <dgm:pt modelId="{7E0EC867-5FDE-47C2-AC7F-FEE059C2B228}" type="pres">
      <dgm:prSet presAssocID="{6651ACD3-906F-46A2-A6C7-ADD6C49DFF04}" presName="Name37" presStyleLbl="parChTrans1D3" presStyleIdx="5" presStyleCnt="15"/>
      <dgm:spPr/>
    </dgm:pt>
    <dgm:pt modelId="{22CFFE82-21D9-40D4-995F-8248CD8B36EC}" type="pres">
      <dgm:prSet presAssocID="{730488B2-AC68-4158-86B6-B90347C528CE}" presName="hierRoot2" presStyleCnt="0">
        <dgm:presLayoutVars>
          <dgm:hierBranch val="init"/>
        </dgm:presLayoutVars>
      </dgm:prSet>
      <dgm:spPr/>
    </dgm:pt>
    <dgm:pt modelId="{51DDAED1-451B-40E0-8C69-472B9AA08A49}" type="pres">
      <dgm:prSet presAssocID="{730488B2-AC68-4158-86B6-B90347C528CE}" presName="rootComposite" presStyleCnt="0"/>
      <dgm:spPr/>
    </dgm:pt>
    <dgm:pt modelId="{BA47E4C6-1CFA-4039-9978-3B9C29AB8787}" type="pres">
      <dgm:prSet presAssocID="{730488B2-AC68-4158-86B6-B90347C528CE}" presName="rootText" presStyleLbl="node3" presStyleIdx="5" presStyleCnt="15">
        <dgm:presLayoutVars>
          <dgm:chPref val="3"/>
        </dgm:presLayoutVars>
      </dgm:prSet>
      <dgm:spPr/>
    </dgm:pt>
    <dgm:pt modelId="{AA75E9D6-A22D-4F98-A174-E6D6FAA5447F}" type="pres">
      <dgm:prSet presAssocID="{730488B2-AC68-4158-86B6-B90347C528CE}" presName="rootConnector" presStyleLbl="node3" presStyleIdx="5" presStyleCnt="15"/>
      <dgm:spPr/>
    </dgm:pt>
    <dgm:pt modelId="{EBCDD944-AFAE-4AF0-8942-B8876B935AAE}" type="pres">
      <dgm:prSet presAssocID="{730488B2-AC68-4158-86B6-B90347C528CE}" presName="hierChild4" presStyleCnt="0"/>
      <dgm:spPr/>
    </dgm:pt>
    <dgm:pt modelId="{05949ABB-B1E2-4429-9268-979A9CC55DCB}" type="pres">
      <dgm:prSet presAssocID="{730488B2-AC68-4158-86B6-B90347C528CE}" presName="hierChild5" presStyleCnt="0"/>
      <dgm:spPr/>
    </dgm:pt>
    <dgm:pt modelId="{47DC0AC1-8839-47AE-862C-6D06789B7484}" type="pres">
      <dgm:prSet presAssocID="{7FC5AF2C-5AF3-4BDF-B704-9E30AAAA15D7}" presName="hierChild5" presStyleCnt="0"/>
      <dgm:spPr/>
    </dgm:pt>
    <dgm:pt modelId="{B4066622-77C2-47A9-A2F8-719A31D5779B}" type="pres">
      <dgm:prSet presAssocID="{04362A1D-4E60-4B98-A02B-F9CC2E69759F}" presName="Name37" presStyleLbl="parChTrans1D2" presStyleIdx="2" presStyleCnt="5"/>
      <dgm:spPr/>
    </dgm:pt>
    <dgm:pt modelId="{C7725CC5-1595-4DC6-BECE-8D6A15294D73}" type="pres">
      <dgm:prSet presAssocID="{1534E458-2771-4742-83ED-C76BD66966BB}" presName="hierRoot2" presStyleCnt="0">
        <dgm:presLayoutVars>
          <dgm:hierBranch val="init"/>
        </dgm:presLayoutVars>
      </dgm:prSet>
      <dgm:spPr/>
    </dgm:pt>
    <dgm:pt modelId="{EF145EDC-1380-4093-8B74-B98F81E5DE8E}" type="pres">
      <dgm:prSet presAssocID="{1534E458-2771-4742-83ED-C76BD66966BB}" presName="rootComposite" presStyleCnt="0"/>
      <dgm:spPr/>
    </dgm:pt>
    <dgm:pt modelId="{29BEE278-9FB1-49AD-A3DB-A831BFD47437}" type="pres">
      <dgm:prSet presAssocID="{1534E458-2771-4742-83ED-C76BD66966BB}" presName="rootText" presStyleLbl="node2" presStyleIdx="2" presStyleCnt="5">
        <dgm:presLayoutVars>
          <dgm:chPref val="3"/>
        </dgm:presLayoutVars>
      </dgm:prSet>
      <dgm:spPr/>
    </dgm:pt>
    <dgm:pt modelId="{E4BA83CB-2909-4CF2-870E-F6F4DCB8D7A2}" type="pres">
      <dgm:prSet presAssocID="{1534E458-2771-4742-83ED-C76BD66966BB}" presName="rootConnector" presStyleLbl="node2" presStyleIdx="2" presStyleCnt="5"/>
      <dgm:spPr/>
    </dgm:pt>
    <dgm:pt modelId="{6BC80C79-0B3C-4A61-A0CE-DAE744441EC5}" type="pres">
      <dgm:prSet presAssocID="{1534E458-2771-4742-83ED-C76BD66966BB}" presName="hierChild4" presStyleCnt="0"/>
      <dgm:spPr/>
    </dgm:pt>
    <dgm:pt modelId="{193217FD-37F8-4F1A-800E-A2A9A7AB9906}" type="pres">
      <dgm:prSet presAssocID="{8AE967B1-7CBC-4727-8B0F-A941C7C17660}" presName="Name37" presStyleLbl="parChTrans1D3" presStyleIdx="6" presStyleCnt="15"/>
      <dgm:spPr/>
    </dgm:pt>
    <dgm:pt modelId="{090F9D7A-29AF-423C-9DE5-D871D87A2037}" type="pres">
      <dgm:prSet presAssocID="{DCEAB96E-0935-456E-B360-5BFFE30A68F1}" presName="hierRoot2" presStyleCnt="0">
        <dgm:presLayoutVars>
          <dgm:hierBranch val="init"/>
        </dgm:presLayoutVars>
      </dgm:prSet>
      <dgm:spPr/>
    </dgm:pt>
    <dgm:pt modelId="{74369FD5-3D9C-472C-882A-4E062EFFE5B5}" type="pres">
      <dgm:prSet presAssocID="{DCEAB96E-0935-456E-B360-5BFFE30A68F1}" presName="rootComposite" presStyleCnt="0"/>
      <dgm:spPr/>
    </dgm:pt>
    <dgm:pt modelId="{DA357A92-9696-4F9C-A112-7B170B1A32F4}" type="pres">
      <dgm:prSet presAssocID="{DCEAB96E-0935-456E-B360-5BFFE30A68F1}" presName="rootText" presStyleLbl="node3" presStyleIdx="6" presStyleCnt="15">
        <dgm:presLayoutVars>
          <dgm:chPref val="3"/>
        </dgm:presLayoutVars>
      </dgm:prSet>
      <dgm:spPr/>
    </dgm:pt>
    <dgm:pt modelId="{DC992E2C-FBB8-4025-993F-D5B31ED702C3}" type="pres">
      <dgm:prSet presAssocID="{DCEAB96E-0935-456E-B360-5BFFE30A68F1}" presName="rootConnector" presStyleLbl="node3" presStyleIdx="6" presStyleCnt="15"/>
      <dgm:spPr/>
    </dgm:pt>
    <dgm:pt modelId="{5FFB716F-73EA-40F0-9CCC-4E51BED32027}" type="pres">
      <dgm:prSet presAssocID="{DCEAB96E-0935-456E-B360-5BFFE30A68F1}" presName="hierChild4" presStyleCnt="0"/>
      <dgm:spPr/>
    </dgm:pt>
    <dgm:pt modelId="{BFDFE30F-6413-429E-8A12-F0F5B1ED78CD}" type="pres">
      <dgm:prSet presAssocID="{DCEAB96E-0935-456E-B360-5BFFE30A68F1}" presName="hierChild5" presStyleCnt="0"/>
      <dgm:spPr/>
    </dgm:pt>
    <dgm:pt modelId="{92D254FB-89C2-49ED-9016-B119086A6EA4}" type="pres">
      <dgm:prSet presAssocID="{8C0B97AB-05E2-474F-A63B-483B2EF4816D}" presName="Name37" presStyleLbl="parChTrans1D3" presStyleIdx="7" presStyleCnt="15"/>
      <dgm:spPr/>
    </dgm:pt>
    <dgm:pt modelId="{EFDECABB-0256-4822-B42D-9245D9A66CFA}" type="pres">
      <dgm:prSet presAssocID="{927D72C5-1662-42F5-B624-8C68032D131B}" presName="hierRoot2" presStyleCnt="0">
        <dgm:presLayoutVars>
          <dgm:hierBranch val="init"/>
        </dgm:presLayoutVars>
      </dgm:prSet>
      <dgm:spPr/>
    </dgm:pt>
    <dgm:pt modelId="{BE61CFD0-C3F0-44E9-BB6B-CEA626CE4F09}" type="pres">
      <dgm:prSet presAssocID="{927D72C5-1662-42F5-B624-8C68032D131B}" presName="rootComposite" presStyleCnt="0"/>
      <dgm:spPr/>
    </dgm:pt>
    <dgm:pt modelId="{A214FD41-B2B7-44F7-85E2-9C07A90EA9CB}" type="pres">
      <dgm:prSet presAssocID="{927D72C5-1662-42F5-B624-8C68032D131B}" presName="rootText" presStyleLbl="node3" presStyleIdx="7" presStyleCnt="15">
        <dgm:presLayoutVars>
          <dgm:chPref val="3"/>
        </dgm:presLayoutVars>
      </dgm:prSet>
      <dgm:spPr/>
    </dgm:pt>
    <dgm:pt modelId="{581F4FCF-1706-4FFB-A21C-275158CF0BBB}" type="pres">
      <dgm:prSet presAssocID="{927D72C5-1662-42F5-B624-8C68032D131B}" presName="rootConnector" presStyleLbl="node3" presStyleIdx="7" presStyleCnt="15"/>
      <dgm:spPr/>
    </dgm:pt>
    <dgm:pt modelId="{9A997757-CB4A-4319-BA42-8F66BA4DD347}" type="pres">
      <dgm:prSet presAssocID="{927D72C5-1662-42F5-B624-8C68032D131B}" presName="hierChild4" presStyleCnt="0"/>
      <dgm:spPr/>
    </dgm:pt>
    <dgm:pt modelId="{C18E5558-4820-44BA-BF96-4A303A63C1AC}" type="pres">
      <dgm:prSet presAssocID="{927D72C5-1662-42F5-B624-8C68032D131B}" presName="hierChild5" presStyleCnt="0"/>
      <dgm:spPr/>
    </dgm:pt>
    <dgm:pt modelId="{F7E988EA-188A-4BC1-89BC-727E70C2669E}" type="pres">
      <dgm:prSet presAssocID="{EA722895-FA0B-4E59-96B6-650A5F39A8FB}" presName="Name37" presStyleLbl="parChTrans1D3" presStyleIdx="8" presStyleCnt="15"/>
      <dgm:spPr/>
    </dgm:pt>
    <dgm:pt modelId="{055E1CBC-80E9-43F9-A013-231B6839334A}" type="pres">
      <dgm:prSet presAssocID="{72365ABE-8489-4373-B036-8C8D74974072}" presName="hierRoot2" presStyleCnt="0">
        <dgm:presLayoutVars>
          <dgm:hierBranch val="init"/>
        </dgm:presLayoutVars>
      </dgm:prSet>
      <dgm:spPr/>
    </dgm:pt>
    <dgm:pt modelId="{57E48249-E46B-406D-9737-ECB854C6FA1B}" type="pres">
      <dgm:prSet presAssocID="{72365ABE-8489-4373-B036-8C8D74974072}" presName="rootComposite" presStyleCnt="0"/>
      <dgm:spPr/>
    </dgm:pt>
    <dgm:pt modelId="{1CACE03C-8863-49AB-A6EC-62386FAF4BA3}" type="pres">
      <dgm:prSet presAssocID="{72365ABE-8489-4373-B036-8C8D74974072}" presName="rootText" presStyleLbl="node3" presStyleIdx="8" presStyleCnt="15">
        <dgm:presLayoutVars>
          <dgm:chPref val="3"/>
        </dgm:presLayoutVars>
      </dgm:prSet>
      <dgm:spPr/>
    </dgm:pt>
    <dgm:pt modelId="{72522871-9E3A-492F-A243-1BB7CDDF6F29}" type="pres">
      <dgm:prSet presAssocID="{72365ABE-8489-4373-B036-8C8D74974072}" presName="rootConnector" presStyleLbl="node3" presStyleIdx="8" presStyleCnt="15"/>
      <dgm:spPr/>
    </dgm:pt>
    <dgm:pt modelId="{67F2516F-7478-4FB3-9901-45CF4822303E}" type="pres">
      <dgm:prSet presAssocID="{72365ABE-8489-4373-B036-8C8D74974072}" presName="hierChild4" presStyleCnt="0"/>
      <dgm:spPr/>
    </dgm:pt>
    <dgm:pt modelId="{37C0A553-F1E1-4E98-86FD-50F481D988D8}" type="pres">
      <dgm:prSet presAssocID="{72365ABE-8489-4373-B036-8C8D74974072}" presName="hierChild5" presStyleCnt="0"/>
      <dgm:spPr/>
    </dgm:pt>
    <dgm:pt modelId="{6142E720-0C6C-424D-9C08-12001E1C6174}" type="pres">
      <dgm:prSet presAssocID="{0E163C80-066C-49FA-9041-2F87DA0DA284}" presName="Name37" presStyleLbl="parChTrans1D3" presStyleIdx="9" presStyleCnt="15"/>
      <dgm:spPr/>
    </dgm:pt>
    <dgm:pt modelId="{9051E6A3-5E38-46C2-9D44-5889F82C4622}" type="pres">
      <dgm:prSet presAssocID="{DFA8FCB6-AC14-46FB-966B-FBD80C801AD0}" presName="hierRoot2" presStyleCnt="0">
        <dgm:presLayoutVars>
          <dgm:hierBranch val="init"/>
        </dgm:presLayoutVars>
      </dgm:prSet>
      <dgm:spPr/>
    </dgm:pt>
    <dgm:pt modelId="{9DBE4ACC-C9E3-4F3E-81DD-872C41C0A53B}" type="pres">
      <dgm:prSet presAssocID="{DFA8FCB6-AC14-46FB-966B-FBD80C801AD0}" presName="rootComposite" presStyleCnt="0"/>
      <dgm:spPr/>
    </dgm:pt>
    <dgm:pt modelId="{BA70C47F-43CF-4986-B42D-9804734103C9}" type="pres">
      <dgm:prSet presAssocID="{DFA8FCB6-AC14-46FB-966B-FBD80C801AD0}" presName="rootText" presStyleLbl="node3" presStyleIdx="9" presStyleCnt="15">
        <dgm:presLayoutVars>
          <dgm:chPref val="3"/>
        </dgm:presLayoutVars>
      </dgm:prSet>
      <dgm:spPr/>
    </dgm:pt>
    <dgm:pt modelId="{86C854BC-E17A-4F9F-B37D-4155238ECC14}" type="pres">
      <dgm:prSet presAssocID="{DFA8FCB6-AC14-46FB-966B-FBD80C801AD0}" presName="rootConnector" presStyleLbl="node3" presStyleIdx="9" presStyleCnt="15"/>
      <dgm:spPr/>
    </dgm:pt>
    <dgm:pt modelId="{6F14955A-4FF8-4293-85A6-79F0D0396EC7}" type="pres">
      <dgm:prSet presAssocID="{DFA8FCB6-AC14-46FB-966B-FBD80C801AD0}" presName="hierChild4" presStyleCnt="0"/>
      <dgm:spPr/>
    </dgm:pt>
    <dgm:pt modelId="{2176D38E-EA2D-4676-8D18-D7886C2A4AE5}" type="pres">
      <dgm:prSet presAssocID="{DFA8FCB6-AC14-46FB-966B-FBD80C801AD0}" presName="hierChild5" presStyleCnt="0"/>
      <dgm:spPr/>
    </dgm:pt>
    <dgm:pt modelId="{7B2416A2-89A5-426E-941F-82B3DF1E7325}" type="pres">
      <dgm:prSet presAssocID="{1534E458-2771-4742-83ED-C76BD66966BB}" presName="hierChild5" presStyleCnt="0"/>
      <dgm:spPr/>
    </dgm:pt>
    <dgm:pt modelId="{37FD1123-8C13-4A86-B8A9-9A99C310F562}" type="pres">
      <dgm:prSet presAssocID="{380CCC37-729E-4E88-B029-B0ACFD688041}" presName="Name37" presStyleLbl="parChTrans1D2" presStyleIdx="3" presStyleCnt="5"/>
      <dgm:spPr/>
    </dgm:pt>
    <dgm:pt modelId="{BC0BBD19-C445-45CA-AFBD-0962DB4B7DC1}" type="pres">
      <dgm:prSet presAssocID="{0B51D6A0-B641-4FF9-AD9C-8E2688D06AE0}" presName="hierRoot2" presStyleCnt="0">
        <dgm:presLayoutVars>
          <dgm:hierBranch val="init"/>
        </dgm:presLayoutVars>
      </dgm:prSet>
      <dgm:spPr/>
    </dgm:pt>
    <dgm:pt modelId="{03AD397A-6C92-4943-BF27-0348664F6202}" type="pres">
      <dgm:prSet presAssocID="{0B51D6A0-B641-4FF9-AD9C-8E2688D06AE0}" presName="rootComposite" presStyleCnt="0"/>
      <dgm:spPr/>
    </dgm:pt>
    <dgm:pt modelId="{B328AB81-D22A-4C09-B209-3AFB8BD1D3BD}" type="pres">
      <dgm:prSet presAssocID="{0B51D6A0-B641-4FF9-AD9C-8E2688D06AE0}" presName="rootText" presStyleLbl="node2" presStyleIdx="3" presStyleCnt="5">
        <dgm:presLayoutVars>
          <dgm:chPref val="3"/>
        </dgm:presLayoutVars>
      </dgm:prSet>
      <dgm:spPr/>
    </dgm:pt>
    <dgm:pt modelId="{85BEEA8D-0A64-41BB-A243-6A0AB3C81637}" type="pres">
      <dgm:prSet presAssocID="{0B51D6A0-B641-4FF9-AD9C-8E2688D06AE0}" presName="rootConnector" presStyleLbl="node2" presStyleIdx="3" presStyleCnt="5"/>
      <dgm:spPr/>
    </dgm:pt>
    <dgm:pt modelId="{0781E9B3-0F35-44D2-A30E-D8763A3135E5}" type="pres">
      <dgm:prSet presAssocID="{0B51D6A0-B641-4FF9-AD9C-8E2688D06AE0}" presName="hierChild4" presStyleCnt="0"/>
      <dgm:spPr/>
    </dgm:pt>
    <dgm:pt modelId="{609EBC90-A2E6-409A-B8C5-FFB1FD479B5D}" type="pres">
      <dgm:prSet presAssocID="{41B498C3-8845-4E7A-863C-B359A5D4F51D}" presName="Name37" presStyleLbl="parChTrans1D3" presStyleIdx="10" presStyleCnt="15"/>
      <dgm:spPr/>
    </dgm:pt>
    <dgm:pt modelId="{69A2DE7A-453C-4112-93ED-DDACFFCC33BE}" type="pres">
      <dgm:prSet presAssocID="{EF62CC2B-31AC-4EB8-8D0C-544C33500950}" presName="hierRoot2" presStyleCnt="0">
        <dgm:presLayoutVars>
          <dgm:hierBranch val="init"/>
        </dgm:presLayoutVars>
      </dgm:prSet>
      <dgm:spPr/>
    </dgm:pt>
    <dgm:pt modelId="{01425B85-4ABF-4E1A-9C93-110CAEBFFD8A}" type="pres">
      <dgm:prSet presAssocID="{EF62CC2B-31AC-4EB8-8D0C-544C33500950}" presName="rootComposite" presStyleCnt="0"/>
      <dgm:spPr/>
    </dgm:pt>
    <dgm:pt modelId="{8CF99B5F-035A-4925-A4D4-A4903534FF96}" type="pres">
      <dgm:prSet presAssocID="{EF62CC2B-31AC-4EB8-8D0C-544C33500950}" presName="rootText" presStyleLbl="node3" presStyleIdx="10" presStyleCnt="15">
        <dgm:presLayoutVars>
          <dgm:chPref val="3"/>
        </dgm:presLayoutVars>
      </dgm:prSet>
      <dgm:spPr/>
    </dgm:pt>
    <dgm:pt modelId="{A16BAF7B-D080-4C8F-B9FB-381BB5622938}" type="pres">
      <dgm:prSet presAssocID="{EF62CC2B-31AC-4EB8-8D0C-544C33500950}" presName="rootConnector" presStyleLbl="node3" presStyleIdx="10" presStyleCnt="15"/>
      <dgm:spPr/>
    </dgm:pt>
    <dgm:pt modelId="{33A2621D-7DE0-4D90-A347-B6BEE7B0884E}" type="pres">
      <dgm:prSet presAssocID="{EF62CC2B-31AC-4EB8-8D0C-544C33500950}" presName="hierChild4" presStyleCnt="0"/>
      <dgm:spPr/>
    </dgm:pt>
    <dgm:pt modelId="{34AB5715-A430-4818-90E2-69D8462F69F5}" type="pres">
      <dgm:prSet presAssocID="{EF62CC2B-31AC-4EB8-8D0C-544C33500950}" presName="hierChild5" presStyleCnt="0"/>
      <dgm:spPr/>
    </dgm:pt>
    <dgm:pt modelId="{51F5788C-5138-4CCE-A669-4A545CD1EC42}" type="pres">
      <dgm:prSet presAssocID="{80793BB8-DB7C-49BA-8097-D8B444118C5D}" presName="Name37" presStyleLbl="parChTrans1D3" presStyleIdx="11" presStyleCnt="15"/>
      <dgm:spPr/>
    </dgm:pt>
    <dgm:pt modelId="{8913E2F5-07C8-46D8-B23F-B1EC7C035268}" type="pres">
      <dgm:prSet presAssocID="{419B3787-E198-4794-A3BB-DDFE3FAC98DC}" presName="hierRoot2" presStyleCnt="0">
        <dgm:presLayoutVars>
          <dgm:hierBranch val="init"/>
        </dgm:presLayoutVars>
      </dgm:prSet>
      <dgm:spPr/>
    </dgm:pt>
    <dgm:pt modelId="{10BEFBE0-438A-4D7B-8E34-F9BB7D3D6D55}" type="pres">
      <dgm:prSet presAssocID="{419B3787-E198-4794-A3BB-DDFE3FAC98DC}" presName="rootComposite" presStyleCnt="0"/>
      <dgm:spPr/>
    </dgm:pt>
    <dgm:pt modelId="{8A9799B3-6E41-49D8-9547-8481957BDBBF}" type="pres">
      <dgm:prSet presAssocID="{419B3787-E198-4794-A3BB-DDFE3FAC98DC}" presName="rootText" presStyleLbl="node3" presStyleIdx="11" presStyleCnt="15">
        <dgm:presLayoutVars>
          <dgm:chPref val="3"/>
        </dgm:presLayoutVars>
      </dgm:prSet>
      <dgm:spPr/>
    </dgm:pt>
    <dgm:pt modelId="{B84963C8-DA47-4265-A936-8FBD3E7DAD54}" type="pres">
      <dgm:prSet presAssocID="{419B3787-E198-4794-A3BB-DDFE3FAC98DC}" presName="rootConnector" presStyleLbl="node3" presStyleIdx="11" presStyleCnt="15"/>
      <dgm:spPr/>
    </dgm:pt>
    <dgm:pt modelId="{6CBB8ADB-B035-4947-B416-2D1928709FBA}" type="pres">
      <dgm:prSet presAssocID="{419B3787-E198-4794-A3BB-DDFE3FAC98DC}" presName="hierChild4" presStyleCnt="0"/>
      <dgm:spPr/>
    </dgm:pt>
    <dgm:pt modelId="{FB5AFCE7-7BF8-4601-A73D-C828B3CC82F5}" type="pres">
      <dgm:prSet presAssocID="{419B3787-E198-4794-A3BB-DDFE3FAC98DC}" presName="hierChild5" presStyleCnt="0"/>
      <dgm:spPr/>
    </dgm:pt>
    <dgm:pt modelId="{27F01A13-2057-400F-BACE-3CD2292AC4A7}" type="pres">
      <dgm:prSet presAssocID="{0B51D6A0-B641-4FF9-AD9C-8E2688D06AE0}" presName="hierChild5" presStyleCnt="0"/>
      <dgm:spPr/>
    </dgm:pt>
    <dgm:pt modelId="{54465A04-3AC5-4ED8-95C8-240B70BE49CC}" type="pres">
      <dgm:prSet presAssocID="{61C160EF-85CE-4DC4-AC68-E2C380FEC2F1}" presName="Name37" presStyleLbl="parChTrans1D2" presStyleIdx="4" presStyleCnt="5"/>
      <dgm:spPr/>
    </dgm:pt>
    <dgm:pt modelId="{9EDABE71-DE2A-4B40-B4C1-E90401549E13}" type="pres">
      <dgm:prSet presAssocID="{D45B4FC2-83EE-4D91-A753-882C6B6B3DE8}" presName="hierRoot2" presStyleCnt="0">
        <dgm:presLayoutVars>
          <dgm:hierBranch val="init"/>
        </dgm:presLayoutVars>
      </dgm:prSet>
      <dgm:spPr/>
    </dgm:pt>
    <dgm:pt modelId="{12639D4A-EB79-4235-9A0E-911233D4F159}" type="pres">
      <dgm:prSet presAssocID="{D45B4FC2-83EE-4D91-A753-882C6B6B3DE8}" presName="rootComposite" presStyleCnt="0"/>
      <dgm:spPr/>
    </dgm:pt>
    <dgm:pt modelId="{36B92954-C473-47DA-8B66-AEA32BC51659}" type="pres">
      <dgm:prSet presAssocID="{D45B4FC2-83EE-4D91-A753-882C6B6B3DE8}" presName="rootText" presStyleLbl="node2" presStyleIdx="4" presStyleCnt="5">
        <dgm:presLayoutVars>
          <dgm:chPref val="3"/>
        </dgm:presLayoutVars>
      </dgm:prSet>
      <dgm:spPr/>
    </dgm:pt>
    <dgm:pt modelId="{4D8B56CB-5455-4DA6-BE7F-0BD17F05D5BE}" type="pres">
      <dgm:prSet presAssocID="{D45B4FC2-83EE-4D91-A753-882C6B6B3DE8}" presName="rootConnector" presStyleLbl="node2" presStyleIdx="4" presStyleCnt="5"/>
      <dgm:spPr/>
    </dgm:pt>
    <dgm:pt modelId="{CEF3D426-872E-42F1-97EC-AC09ED2909F6}" type="pres">
      <dgm:prSet presAssocID="{D45B4FC2-83EE-4D91-A753-882C6B6B3DE8}" presName="hierChild4" presStyleCnt="0"/>
      <dgm:spPr/>
    </dgm:pt>
    <dgm:pt modelId="{CCAC932B-E7A5-41CA-9075-A5814B1160C2}" type="pres">
      <dgm:prSet presAssocID="{0BDB8C61-37D2-4A1B-AA88-9C34F6617322}" presName="Name37" presStyleLbl="parChTrans1D3" presStyleIdx="12" presStyleCnt="15"/>
      <dgm:spPr/>
    </dgm:pt>
    <dgm:pt modelId="{4FD19D22-5740-4749-AA2B-74C68CEA1131}" type="pres">
      <dgm:prSet presAssocID="{C376833E-3E62-4402-B624-B833EE143A7F}" presName="hierRoot2" presStyleCnt="0">
        <dgm:presLayoutVars>
          <dgm:hierBranch val="init"/>
        </dgm:presLayoutVars>
      </dgm:prSet>
      <dgm:spPr/>
    </dgm:pt>
    <dgm:pt modelId="{EC997B80-5AA1-44B1-8A17-666C5155CAC2}" type="pres">
      <dgm:prSet presAssocID="{C376833E-3E62-4402-B624-B833EE143A7F}" presName="rootComposite" presStyleCnt="0"/>
      <dgm:spPr/>
    </dgm:pt>
    <dgm:pt modelId="{B992F0E6-47BD-4087-9AC8-71B854DEDA01}" type="pres">
      <dgm:prSet presAssocID="{C376833E-3E62-4402-B624-B833EE143A7F}" presName="rootText" presStyleLbl="node3" presStyleIdx="12" presStyleCnt="15">
        <dgm:presLayoutVars>
          <dgm:chPref val="3"/>
        </dgm:presLayoutVars>
      </dgm:prSet>
      <dgm:spPr/>
    </dgm:pt>
    <dgm:pt modelId="{74BC35B5-9509-4BF7-B15C-ACCB29910F39}" type="pres">
      <dgm:prSet presAssocID="{C376833E-3E62-4402-B624-B833EE143A7F}" presName="rootConnector" presStyleLbl="node3" presStyleIdx="12" presStyleCnt="15"/>
      <dgm:spPr/>
    </dgm:pt>
    <dgm:pt modelId="{420524E9-1E1C-4DB1-BB6C-0B97B59177DC}" type="pres">
      <dgm:prSet presAssocID="{C376833E-3E62-4402-B624-B833EE143A7F}" presName="hierChild4" presStyleCnt="0"/>
      <dgm:spPr/>
    </dgm:pt>
    <dgm:pt modelId="{7847077E-50B3-4506-9D5E-AF94C9840CED}" type="pres">
      <dgm:prSet presAssocID="{C376833E-3E62-4402-B624-B833EE143A7F}" presName="hierChild5" presStyleCnt="0"/>
      <dgm:spPr/>
    </dgm:pt>
    <dgm:pt modelId="{D6AFCAA8-1D71-4841-BD45-2563174BDE09}" type="pres">
      <dgm:prSet presAssocID="{237BB484-7311-49F5-968B-C5BC05868FCB}" presName="Name37" presStyleLbl="parChTrans1D3" presStyleIdx="13" presStyleCnt="15"/>
      <dgm:spPr/>
    </dgm:pt>
    <dgm:pt modelId="{F0D3981B-3DAF-407B-B9AD-1D56C5B4F30D}" type="pres">
      <dgm:prSet presAssocID="{0EC4EBCD-E340-4FA2-8DAC-C14A25B8CA3B}" presName="hierRoot2" presStyleCnt="0">
        <dgm:presLayoutVars>
          <dgm:hierBranch val="init"/>
        </dgm:presLayoutVars>
      </dgm:prSet>
      <dgm:spPr/>
    </dgm:pt>
    <dgm:pt modelId="{A3058AB9-8979-4D69-9971-B1526301CEDA}" type="pres">
      <dgm:prSet presAssocID="{0EC4EBCD-E340-4FA2-8DAC-C14A25B8CA3B}" presName="rootComposite" presStyleCnt="0"/>
      <dgm:spPr/>
    </dgm:pt>
    <dgm:pt modelId="{643C26F7-24E2-4CBC-B523-24E13F0E3FCB}" type="pres">
      <dgm:prSet presAssocID="{0EC4EBCD-E340-4FA2-8DAC-C14A25B8CA3B}" presName="rootText" presStyleLbl="node3" presStyleIdx="13" presStyleCnt="15">
        <dgm:presLayoutVars>
          <dgm:chPref val="3"/>
        </dgm:presLayoutVars>
      </dgm:prSet>
      <dgm:spPr/>
    </dgm:pt>
    <dgm:pt modelId="{9117774F-1113-4C66-B61B-D47019DE7CE8}" type="pres">
      <dgm:prSet presAssocID="{0EC4EBCD-E340-4FA2-8DAC-C14A25B8CA3B}" presName="rootConnector" presStyleLbl="node3" presStyleIdx="13" presStyleCnt="15"/>
      <dgm:spPr/>
    </dgm:pt>
    <dgm:pt modelId="{1ED0FEF0-BF90-44CE-926A-874E3DF64042}" type="pres">
      <dgm:prSet presAssocID="{0EC4EBCD-E340-4FA2-8DAC-C14A25B8CA3B}" presName="hierChild4" presStyleCnt="0"/>
      <dgm:spPr/>
    </dgm:pt>
    <dgm:pt modelId="{AFB65C06-4D52-44A7-A1EF-0932E08B5620}" type="pres">
      <dgm:prSet presAssocID="{0EC4EBCD-E340-4FA2-8DAC-C14A25B8CA3B}" presName="hierChild5" presStyleCnt="0"/>
      <dgm:spPr/>
    </dgm:pt>
    <dgm:pt modelId="{636CC386-11BF-442B-A40D-52530E9B10C3}" type="pres">
      <dgm:prSet presAssocID="{59B4794B-51AC-4E72-9C58-0F1943AEF53B}" presName="Name37" presStyleLbl="parChTrans1D3" presStyleIdx="14" presStyleCnt="15"/>
      <dgm:spPr/>
    </dgm:pt>
    <dgm:pt modelId="{538822FC-1496-4493-85C0-78CDA2F5FED0}" type="pres">
      <dgm:prSet presAssocID="{309C09E8-0453-4287-84EA-7645C3BCCB07}" presName="hierRoot2" presStyleCnt="0">
        <dgm:presLayoutVars>
          <dgm:hierBranch val="init"/>
        </dgm:presLayoutVars>
      </dgm:prSet>
      <dgm:spPr/>
    </dgm:pt>
    <dgm:pt modelId="{A29BE4A7-1689-49BE-8F9D-BFCCEC386C8E}" type="pres">
      <dgm:prSet presAssocID="{309C09E8-0453-4287-84EA-7645C3BCCB07}" presName="rootComposite" presStyleCnt="0"/>
      <dgm:spPr/>
    </dgm:pt>
    <dgm:pt modelId="{EA3F6E2F-64B8-4C98-AE0E-4323884D8078}" type="pres">
      <dgm:prSet presAssocID="{309C09E8-0453-4287-84EA-7645C3BCCB07}" presName="rootText" presStyleLbl="node3" presStyleIdx="14" presStyleCnt="15">
        <dgm:presLayoutVars>
          <dgm:chPref val="3"/>
        </dgm:presLayoutVars>
      </dgm:prSet>
      <dgm:spPr/>
    </dgm:pt>
    <dgm:pt modelId="{FD30986B-2263-4AA0-81AF-22F706EB5056}" type="pres">
      <dgm:prSet presAssocID="{309C09E8-0453-4287-84EA-7645C3BCCB07}" presName="rootConnector" presStyleLbl="node3" presStyleIdx="14" presStyleCnt="15"/>
      <dgm:spPr/>
    </dgm:pt>
    <dgm:pt modelId="{28B3738D-641D-4D5A-B650-706036334381}" type="pres">
      <dgm:prSet presAssocID="{309C09E8-0453-4287-84EA-7645C3BCCB07}" presName="hierChild4" presStyleCnt="0"/>
      <dgm:spPr/>
    </dgm:pt>
    <dgm:pt modelId="{81104000-EAA2-4727-A066-9568D99F0D93}" type="pres">
      <dgm:prSet presAssocID="{309C09E8-0453-4287-84EA-7645C3BCCB07}" presName="hierChild5" presStyleCnt="0"/>
      <dgm:spPr/>
    </dgm:pt>
    <dgm:pt modelId="{D2E11DF4-BFB3-4D36-8C74-E351C654EDA5}" type="pres">
      <dgm:prSet presAssocID="{D45B4FC2-83EE-4D91-A753-882C6B6B3DE8}" presName="hierChild5" presStyleCnt="0"/>
      <dgm:spPr/>
    </dgm:pt>
    <dgm:pt modelId="{BEAD6674-2F51-4D97-B9CE-C5EF927D7593}" type="pres">
      <dgm:prSet presAssocID="{4E37B2AC-2A53-4977-AA82-168FDD783EC2}" presName="hierChild3" presStyleCnt="0"/>
      <dgm:spPr/>
    </dgm:pt>
  </dgm:ptLst>
  <dgm:cxnLst>
    <dgm:cxn modelId="{640E3000-EDBD-4727-86A1-2672E2785596}" type="presOf" srcId="{D1F5AA81-C97B-4206-95AB-50BD86EDABA0}" destId="{DF7855C9-FD4F-4B85-8546-5B9603AC37C9}" srcOrd="0" destOrd="0" presId="urn:microsoft.com/office/officeart/2005/8/layout/orgChart1"/>
    <dgm:cxn modelId="{04A21606-217A-4F88-A7C1-09CF20AE4AF0}" type="presOf" srcId="{4E37B2AC-2A53-4977-AA82-168FDD783EC2}" destId="{935CFBD6-DAC5-4095-BDA5-B7F716F7033B}" srcOrd="1" destOrd="0" presId="urn:microsoft.com/office/officeart/2005/8/layout/orgChart1"/>
    <dgm:cxn modelId="{FA43BE09-2DE5-4A3D-8AF1-3836F82E63E3}" type="presOf" srcId="{8C673B06-AC09-43F0-950B-45E2773538DD}" destId="{46B182E1-56B0-423C-B8FE-9A62D154983E}" srcOrd="0" destOrd="0" presId="urn:microsoft.com/office/officeart/2005/8/layout/orgChart1"/>
    <dgm:cxn modelId="{07B6010D-2A5A-4C19-AA62-C7E061EDED93}" type="presOf" srcId="{72365ABE-8489-4373-B036-8C8D74974072}" destId="{1CACE03C-8863-49AB-A6EC-62386FAF4BA3}" srcOrd="0" destOrd="0" presId="urn:microsoft.com/office/officeart/2005/8/layout/orgChart1"/>
    <dgm:cxn modelId="{0655860D-45FB-48F6-B2C8-13B80594B1E2}" type="presOf" srcId="{F453C166-387C-4B65-8F8D-F92E493DB225}" destId="{D6580401-3E23-4044-A39E-F17EA11DAA8C}" srcOrd="1" destOrd="0" presId="urn:microsoft.com/office/officeart/2005/8/layout/orgChart1"/>
    <dgm:cxn modelId="{F8FCA70E-E351-45CD-928F-31BAE7949360}" type="presOf" srcId="{EAD6DC30-01E0-463A-A738-472FA319BC0C}" destId="{D9C275B2-7DA6-4BFD-8A45-9C215050ACB2}" srcOrd="0" destOrd="0" presId="urn:microsoft.com/office/officeart/2005/8/layout/orgChart1"/>
    <dgm:cxn modelId="{817A1B13-0E08-4ED6-AA63-91F8EEF056D3}" type="presOf" srcId="{7FC5AF2C-5AF3-4BDF-B704-9E30AAAA15D7}" destId="{67BFB017-35E6-40F2-8F81-EE3429D5F7D2}" srcOrd="1" destOrd="0" presId="urn:microsoft.com/office/officeart/2005/8/layout/orgChart1"/>
    <dgm:cxn modelId="{F2672915-9B77-4664-AD38-5A1460B467E0}" type="presOf" srcId="{0E163C80-066C-49FA-9041-2F87DA0DA284}" destId="{6142E720-0C6C-424D-9C08-12001E1C6174}" srcOrd="0" destOrd="0" presId="urn:microsoft.com/office/officeart/2005/8/layout/orgChart1"/>
    <dgm:cxn modelId="{A77C921B-154A-467F-908B-A4A065D71E2A}" type="presOf" srcId="{730488B2-AC68-4158-86B6-B90347C528CE}" destId="{AA75E9D6-A22D-4F98-A174-E6D6FAA5447F}" srcOrd="1" destOrd="0" presId="urn:microsoft.com/office/officeart/2005/8/layout/orgChart1"/>
    <dgm:cxn modelId="{04A03E1E-CBBC-4B8B-A238-3DD0ADE851EB}" type="presOf" srcId="{6651ACD3-906F-46A2-A6C7-ADD6C49DFF04}" destId="{7E0EC867-5FDE-47C2-AC7F-FEE059C2B228}" srcOrd="0" destOrd="0" presId="urn:microsoft.com/office/officeart/2005/8/layout/orgChart1"/>
    <dgm:cxn modelId="{2E8AB01E-6FEB-4DE4-B80A-11FB18777705}" type="presOf" srcId="{94FB7E99-553E-4AFD-91AA-AB763A7883C0}" destId="{921AAF04-098D-4199-825E-2486D1DB8D00}" srcOrd="1" destOrd="0" presId="urn:microsoft.com/office/officeart/2005/8/layout/orgChart1"/>
    <dgm:cxn modelId="{6A030C20-F4CA-41F4-8E1D-DBE549EE78E4}" type="presOf" srcId="{0B51D6A0-B641-4FF9-AD9C-8E2688D06AE0}" destId="{B328AB81-D22A-4C09-B209-3AFB8BD1D3BD}" srcOrd="0" destOrd="0" presId="urn:microsoft.com/office/officeart/2005/8/layout/orgChart1"/>
    <dgm:cxn modelId="{5E541430-008C-4826-957B-EA0DDA1EF331}" type="presOf" srcId="{419B3787-E198-4794-A3BB-DDFE3FAC98DC}" destId="{8A9799B3-6E41-49D8-9547-8481957BDBBF}" srcOrd="0" destOrd="0" presId="urn:microsoft.com/office/officeart/2005/8/layout/orgChart1"/>
    <dgm:cxn modelId="{D2DED033-50AB-4565-8E87-B543C2C9E799}" type="presOf" srcId="{F1D4ABBE-6F59-462F-944C-3D3F27589B61}" destId="{6F4C2235-A6C4-4479-BBE4-82FC3A444133}" srcOrd="0" destOrd="0" presId="urn:microsoft.com/office/officeart/2005/8/layout/orgChart1"/>
    <dgm:cxn modelId="{ED6CEC33-339C-4ECB-B79D-DA928602744D}" type="presOf" srcId="{D1F5AA81-C97B-4206-95AB-50BD86EDABA0}" destId="{D7EC342E-15FA-41FC-A7D3-AE7B395C4E54}" srcOrd="1" destOrd="0" presId="urn:microsoft.com/office/officeart/2005/8/layout/orgChart1"/>
    <dgm:cxn modelId="{491C3D34-9169-4F70-9FBD-E244788013C9}" type="presOf" srcId="{94FB7E99-553E-4AFD-91AA-AB763A7883C0}" destId="{4976CF45-DAE0-476E-8F98-023762674585}" srcOrd="0" destOrd="0" presId="urn:microsoft.com/office/officeart/2005/8/layout/orgChart1"/>
    <dgm:cxn modelId="{DC224337-AB98-4F40-ABAC-8B41DF014D6D}" type="presOf" srcId="{946E6196-03CE-4871-A18D-0D404796E659}" destId="{A2504DB7-8904-4A62-BB35-325BF38AFF5E}" srcOrd="0" destOrd="0" presId="urn:microsoft.com/office/officeart/2005/8/layout/orgChart1"/>
    <dgm:cxn modelId="{7D259337-EF74-47B8-9ECF-5050C52DEDEE}" type="presOf" srcId="{C376833E-3E62-4402-B624-B833EE143A7F}" destId="{74BC35B5-9509-4BF7-B15C-ACCB29910F39}" srcOrd="1" destOrd="0" presId="urn:microsoft.com/office/officeart/2005/8/layout/orgChart1"/>
    <dgm:cxn modelId="{939C603A-ADC6-4740-A496-EF6117B989CF}" type="presOf" srcId="{8C0B97AB-05E2-474F-A63B-483B2EF4816D}" destId="{92D254FB-89C2-49ED-9016-B119086A6EA4}" srcOrd="0" destOrd="0" presId="urn:microsoft.com/office/officeart/2005/8/layout/orgChart1"/>
    <dgm:cxn modelId="{C024AA3B-05DA-4D7C-8D27-0FCBE4714E39}" type="presOf" srcId="{EF62CC2B-31AC-4EB8-8D0C-544C33500950}" destId="{8CF99B5F-035A-4925-A4D4-A4903534FF96}" srcOrd="0" destOrd="0" presId="urn:microsoft.com/office/officeart/2005/8/layout/orgChart1"/>
    <dgm:cxn modelId="{7BF5CD3D-078C-4064-9F00-342A365010B5}" type="presOf" srcId="{07DB5E45-2FCA-44B1-972F-FA30ADEC6D2B}" destId="{15217F90-DFEE-4E94-9A26-8DD985F15226}" srcOrd="0" destOrd="0" presId="urn:microsoft.com/office/officeart/2005/8/layout/orgChart1"/>
    <dgm:cxn modelId="{FDF7493E-BB0D-4F3D-969E-393C4DADE61C}" srcId="{4E37B2AC-2A53-4977-AA82-168FDD783EC2}" destId="{1534E458-2771-4742-83ED-C76BD66966BB}" srcOrd="2" destOrd="0" parTransId="{04362A1D-4E60-4B98-A02B-F9CC2E69759F}" sibTransId="{F7EDB223-F901-4395-A01C-5EEE3B18A0CC}"/>
    <dgm:cxn modelId="{7A53753E-E80F-485E-92D3-8755E31F4E5B}" type="presOf" srcId="{EF62CC2B-31AC-4EB8-8D0C-544C33500950}" destId="{A16BAF7B-D080-4C8F-B9FB-381BB5622938}" srcOrd="1" destOrd="0" presId="urn:microsoft.com/office/officeart/2005/8/layout/orgChart1"/>
    <dgm:cxn modelId="{1157753E-C709-45F8-9D5A-65F3F63E463C}" srcId="{94FB7E99-553E-4AFD-91AA-AB763A7883C0}" destId="{F1D4ABBE-6F59-462F-944C-3D3F27589B61}" srcOrd="1" destOrd="0" parTransId="{A447D68F-6414-4A0A-A3C1-D1C822CD3632}" sibTransId="{906CC2FD-1595-463E-AEBA-59694EAFE1B7}"/>
    <dgm:cxn modelId="{A2E0883F-4BB8-4FF7-96BB-243E666156EC}" type="presOf" srcId="{309C09E8-0453-4287-84EA-7645C3BCCB07}" destId="{EA3F6E2F-64B8-4C98-AE0E-4323884D8078}" srcOrd="0" destOrd="0" presId="urn:microsoft.com/office/officeart/2005/8/layout/orgChart1"/>
    <dgm:cxn modelId="{D4BE2642-088B-4797-AEBF-E44F936950DC}" srcId="{1534E458-2771-4742-83ED-C76BD66966BB}" destId="{DFA8FCB6-AC14-46FB-966B-FBD80C801AD0}" srcOrd="3" destOrd="0" parTransId="{0E163C80-066C-49FA-9041-2F87DA0DA284}" sibTransId="{AB794E13-EE28-4C0E-BA92-1593F4DD596B}"/>
    <dgm:cxn modelId="{BD2F8E43-DF7F-42BC-8522-2E79D111ABDF}" type="presOf" srcId="{419B3787-E198-4794-A3BB-DDFE3FAC98DC}" destId="{B84963C8-DA47-4265-A936-8FBD3E7DAD54}" srcOrd="1" destOrd="0" presId="urn:microsoft.com/office/officeart/2005/8/layout/orgChart1"/>
    <dgm:cxn modelId="{73AE7F64-ECF7-46B2-8AFB-76FC92ACAB86}" type="presOf" srcId="{A34A5624-73F5-4C7D-8E03-A2622B270633}" destId="{0DA0B410-9F94-4D4A-9933-4E1483CFD6B5}" srcOrd="0" destOrd="0" presId="urn:microsoft.com/office/officeart/2005/8/layout/orgChart1"/>
    <dgm:cxn modelId="{22E67F65-EA1A-4FDE-BE2A-0CFD7C89ED2C}" type="presOf" srcId="{80793BB8-DB7C-49BA-8097-D8B444118C5D}" destId="{51F5788C-5138-4CCE-A669-4A545CD1EC42}" srcOrd="0" destOrd="0" presId="urn:microsoft.com/office/officeart/2005/8/layout/orgChart1"/>
    <dgm:cxn modelId="{8D891E66-B564-4AF4-AFC5-A5B28EFD4CD3}" type="presOf" srcId="{F453C166-387C-4B65-8F8D-F92E493DB225}" destId="{60EF91F8-EF2F-4B4D-B27B-14D4ADCFF2B5}" srcOrd="0" destOrd="0" presId="urn:microsoft.com/office/officeart/2005/8/layout/orgChart1"/>
    <dgm:cxn modelId="{65C46E67-C182-4B18-ACD4-4FCF39E1C88B}" type="presOf" srcId="{380CCC37-729E-4E88-B029-B0ACFD688041}" destId="{37FD1123-8C13-4A86-B8A9-9A99C310F562}" srcOrd="0" destOrd="0" presId="urn:microsoft.com/office/officeart/2005/8/layout/orgChart1"/>
    <dgm:cxn modelId="{A6127068-5F72-4682-B246-CECE607B7382}" srcId="{1534E458-2771-4742-83ED-C76BD66966BB}" destId="{72365ABE-8489-4373-B036-8C8D74974072}" srcOrd="2" destOrd="0" parTransId="{EA722895-FA0B-4E59-96B6-650A5F39A8FB}" sibTransId="{18EB4008-BCC1-4AFF-AACB-A56A4CED917C}"/>
    <dgm:cxn modelId="{ACB7386D-A3C5-4B55-AB39-8DAF5D493EFF}" type="presOf" srcId="{A447D68F-6414-4A0A-A3C1-D1C822CD3632}" destId="{C07A26EB-E764-4593-B288-D79A4BB185F2}" srcOrd="0" destOrd="0" presId="urn:microsoft.com/office/officeart/2005/8/layout/orgChart1"/>
    <dgm:cxn modelId="{38D4FD4F-2421-4467-A070-BF053DF4F88D}" type="presOf" srcId="{72365ABE-8489-4373-B036-8C8D74974072}" destId="{72522871-9E3A-492F-A243-1BB7CDDF6F29}" srcOrd="1" destOrd="0" presId="urn:microsoft.com/office/officeart/2005/8/layout/orgChart1"/>
    <dgm:cxn modelId="{49200651-EE8D-46DB-9569-4E4A43F0A360}" type="presOf" srcId="{F1D4ABBE-6F59-462F-944C-3D3F27589B61}" destId="{2CECA5F6-47A6-4FA1-86EB-1F62B1CD87B6}" srcOrd="1" destOrd="0" presId="urn:microsoft.com/office/officeart/2005/8/layout/orgChart1"/>
    <dgm:cxn modelId="{E1339851-C009-429A-BCEB-450260E1DA55}" type="presOf" srcId="{4E37B2AC-2A53-4977-AA82-168FDD783EC2}" destId="{E5BDD1BF-DC39-4A16-AD41-260AE14ED4E6}" srcOrd="0" destOrd="0" presId="urn:microsoft.com/office/officeart/2005/8/layout/orgChart1"/>
    <dgm:cxn modelId="{F4679951-7556-42FC-AD1E-EB1FAD782F88}" type="presOf" srcId="{41B498C3-8845-4E7A-863C-B359A5D4F51D}" destId="{609EBC90-A2E6-409A-B8C5-FFB1FD479B5D}" srcOrd="0" destOrd="0" presId="urn:microsoft.com/office/officeart/2005/8/layout/orgChart1"/>
    <dgm:cxn modelId="{CEC26172-6167-4AAC-A310-0E07B68CEC9E}" type="presOf" srcId="{0EC4EBCD-E340-4FA2-8DAC-C14A25B8CA3B}" destId="{643C26F7-24E2-4CBC-B523-24E13F0E3FCB}" srcOrd="0" destOrd="0" presId="urn:microsoft.com/office/officeart/2005/8/layout/orgChart1"/>
    <dgm:cxn modelId="{8FF47672-8262-4C22-BC58-A152830AC129}" srcId="{94FB7E99-553E-4AFD-91AA-AB763A7883C0}" destId="{D1F5AA81-C97B-4206-95AB-50BD86EDABA0}" srcOrd="2" destOrd="0" parTransId="{42D5B9CE-E536-4164-87DD-48290B3535D3}" sibTransId="{AB83CBCC-8491-47D9-AABF-FF8B45884CF4}"/>
    <dgm:cxn modelId="{72C17C54-38AD-4F8A-8E43-DF799C549158}" type="presOf" srcId="{730488B2-AC68-4158-86B6-B90347C528CE}" destId="{BA47E4C6-1CFA-4039-9978-3B9C29AB8787}" srcOrd="0" destOrd="0" presId="urn:microsoft.com/office/officeart/2005/8/layout/orgChart1"/>
    <dgm:cxn modelId="{40C42455-61A7-4AEE-ADF5-5EB2A0237774}" type="presOf" srcId="{61C160EF-85CE-4DC4-AC68-E2C380FEC2F1}" destId="{54465A04-3AC5-4ED8-95C8-240B70BE49CC}" srcOrd="0" destOrd="0" presId="urn:microsoft.com/office/officeart/2005/8/layout/orgChart1"/>
    <dgm:cxn modelId="{F1CCB356-0B6A-4309-B030-E22CE8E95E2E}" type="presOf" srcId="{C376833E-3E62-4402-B624-B833EE143A7F}" destId="{B992F0E6-47BD-4087-9AC8-71B854DEDA01}" srcOrd="0" destOrd="0" presId="urn:microsoft.com/office/officeart/2005/8/layout/orgChart1"/>
    <dgm:cxn modelId="{C70B2E57-B92E-4246-B16E-558B17D0F19E}" type="presOf" srcId="{0EC4EBCD-E340-4FA2-8DAC-C14A25B8CA3B}" destId="{9117774F-1113-4C66-B61B-D47019DE7CE8}" srcOrd="1" destOrd="0" presId="urn:microsoft.com/office/officeart/2005/8/layout/orgChart1"/>
    <dgm:cxn modelId="{54323879-4527-4B97-A046-5A840763A734}" type="presOf" srcId="{59B4794B-51AC-4E72-9C58-0F1943AEF53B}" destId="{636CC386-11BF-442B-A40D-52530E9B10C3}" srcOrd="0" destOrd="0" presId="urn:microsoft.com/office/officeart/2005/8/layout/orgChart1"/>
    <dgm:cxn modelId="{BB78DA5A-40E8-4735-BDE9-9941BB81A888}" type="presOf" srcId="{927D72C5-1662-42F5-B624-8C68032D131B}" destId="{581F4FCF-1706-4FFB-A21C-275158CF0BBB}" srcOrd="1" destOrd="0" presId="urn:microsoft.com/office/officeart/2005/8/layout/orgChart1"/>
    <dgm:cxn modelId="{ED5EC183-AB1B-46F6-AA5E-7B83102D7D77}" type="presOf" srcId="{1534E458-2771-4742-83ED-C76BD66966BB}" destId="{29BEE278-9FB1-49AD-A3DB-A831BFD47437}" srcOrd="0" destOrd="0" presId="urn:microsoft.com/office/officeart/2005/8/layout/orgChart1"/>
    <dgm:cxn modelId="{AF043C87-4D83-4E0A-9BAA-1BC29B382698}" srcId="{4E37B2AC-2A53-4977-AA82-168FDD783EC2}" destId="{7FC5AF2C-5AF3-4BDF-B704-9E30AAAA15D7}" srcOrd="1" destOrd="0" parTransId="{946E6196-03CE-4871-A18D-0D404796E659}" sibTransId="{11DADA16-BF7A-4CC6-9A49-46B33AAA3003}"/>
    <dgm:cxn modelId="{59A6D48E-29C6-4B9B-8B90-931111164CB9}" type="presOf" srcId="{8AE967B1-7CBC-4727-8B0F-A941C7C17660}" destId="{193217FD-37F8-4F1A-800E-A2A9A7AB9906}" srcOrd="0" destOrd="0" presId="urn:microsoft.com/office/officeart/2005/8/layout/orgChart1"/>
    <dgm:cxn modelId="{FB992290-87A9-49F9-9FF4-F2DAAD915D25}" srcId="{7FC5AF2C-5AF3-4BDF-B704-9E30AAAA15D7}" destId="{8C673B06-AC09-43F0-950B-45E2773538DD}" srcOrd="0" destOrd="0" parTransId="{CA082236-D7E4-4675-9AE9-7C614CF4B7F9}" sibTransId="{063FEAEE-82C3-4E06-84D0-BCB508E0F238}"/>
    <dgm:cxn modelId="{4F66BE92-7C36-4ADE-99C3-AAA281B0AEFF}" srcId="{94FB7E99-553E-4AFD-91AA-AB763A7883C0}" destId="{F453C166-387C-4B65-8F8D-F92E493DB225}" srcOrd="0" destOrd="0" parTransId="{EAD6DC30-01E0-463A-A738-472FA319BC0C}" sibTransId="{86893170-204C-4FA6-B5CA-22A6168D16C5}"/>
    <dgm:cxn modelId="{705A369C-6684-43CA-A805-BB0B40C2147C}" srcId="{1534E458-2771-4742-83ED-C76BD66966BB}" destId="{DCEAB96E-0935-456E-B360-5BFFE30A68F1}" srcOrd="0" destOrd="0" parTransId="{8AE967B1-7CBC-4727-8B0F-A941C7C17660}" sibTransId="{CA43E58D-BD08-4375-90B8-23F0CB97B5F4}"/>
    <dgm:cxn modelId="{1F23B4A0-94AD-477E-BB32-99163E1D4953}" type="presOf" srcId="{CA082236-D7E4-4675-9AE9-7C614CF4B7F9}" destId="{6854DB14-3D99-468B-AC16-BB4A1902D05D}" srcOrd="0" destOrd="0" presId="urn:microsoft.com/office/officeart/2005/8/layout/orgChart1"/>
    <dgm:cxn modelId="{7B7943A1-12DC-4A74-932F-895EC0E64E1E}" srcId="{7FC5AF2C-5AF3-4BDF-B704-9E30AAAA15D7}" destId="{730488B2-AC68-4158-86B6-B90347C528CE}" srcOrd="2" destOrd="0" parTransId="{6651ACD3-906F-46A2-A6C7-ADD6C49DFF04}" sibTransId="{F552A900-859F-44B5-A8AA-2D8140906FD2}"/>
    <dgm:cxn modelId="{04492EA2-9B70-460E-85EB-DE8D707809EF}" type="presOf" srcId="{EA722895-FA0B-4E59-96B6-650A5F39A8FB}" destId="{F7E988EA-188A-4BC1-89BC-727E70C2669E}" srcOrd="0" destOrd="0" presId="urn:microsoft.com/office/officeart/2005/8/layout/orgChart1"/>
    <dgm:cxn modelId="{58732DA4-FC77-43F0-9C59-6925CBE3C179}" type="presOf" srcId="{309C09E8-0453-4287-84EA-7645C3BCCB07}" destId="{FD30986B-2263-4AA0-81AF-22F706EB5056}" srcOrd="1" destOrd="0" presId="urn:microsoft.com/office/officeart/2005/8/layout/orgChart1"/>
    <dgm:cxn modelId="{507194A9-BD5C-4226-A9A3-E3ED2F3D3FCD}" srcId="{D45B4FC2-83EE-4D91-A753-882C6B6B3DE8}" destId="{0EC4EBCD-E340-4FA2-8DAC-C14A25B8CA3B}" srcOrd="1" destOrd="0" parTransId="{237BB484-7311-49F5-968B-C5BC05868FCB}" sibTransId="{81AD6406-3D0F-4D77-BB0C-BC504355672E}"/>
    <dgm:cxn modelId="{EAC238AA-2FED-4BE7-A671-4BB02D075607}" type="presOf" srcId="{42D5B9CE-E536-4164-87DD-48290B3535D3}" destId="{217637AC-FE18-4DA2-94F0-BE029A6EC09A}" srcOrd="0" destOrd="0" presId="urn:microsoft.com/office/officeart/2005/8/layout/orgChart1"/>
    <dgm:cxn modelId="{E29A5FAA-02D5-40E8-9570-68D28D720F82}" srcId="{4E37B2AC-2A53-4977-AA82-168FDD783EC2}" destId="{0B51D6A0-B641-4FF9-AD9C-8E2688D06AE0}" srcOrd="3" destOrd="0" parTransId="{380CCC37-729E-4E88-B029-B0ACFD688041}" sibTransId="{BF12574E-C0AB-4D4C-A769-CE2FD9385FC5}"/>
    <dgm:cxn modelId="{EB3ACEAA-35A4-4CF5-8FF5-07EEAC7140EE}" type="presOf" srcId="{1534E458-2771-4742-83ED-C76BD66966BB}" destId="{E4BA83CB-2909-4CF2-870E-F6F4DCB8D7A2}" srcOrd="1" destOrd="0" presId="urn:microsoft.com/office/officeart/2005/8/layout/orgChart1"/>
    <dgm:cxn modelId="{4E4622AD-6F5F-4D7F-8966-7715AF6B502B}" srcId="{60589FD8-A075-4B30-85B7-99AB651CF1EB}" destId="{4E37B2AC-2A53-4977-AA82-168FDD783EC2}" srcOrd="0" destOrd="0" parTransId="{6354C5B9-2A61-42A8-AECF-22461272EBA7}" sibTransId="{A7E71BCA-EB07-4E94-9E1B-ECA734A2AE6A}"/>
    <dgm:cxn modelId="{CA4B06AE-0D0C-4E2E-A04E-22713F63903D}" srcId="{0B51D6A0-B641-4FF9-AD9C-8E2688D06AE0}" destId="{EF62CC2B-31AC-4EB8-8D0C-544C33500950}" srcOrd="0" destOrd="0" parTransId="{41B498C3-8845-4E7A-863C-B359A5D4F51D}" sibTransId="{365248D5-A3D5-42D4-BB74-986D83F2D77D}"/>
    <dgm:cxn modelId="{E2E37AB0-C08F-4DDC-AE3E-E44B915597FB}" type="presOf" srcId="{7FC5AF2C-5AF3-4BDF-B704-9E30AAAA15D7}" destId="{28D961AF-8D39-443F-BC18-894FBABC3852}" srcOrd="0" destOrd="0" presId="urn:microsoft.com/office/officeart/2005/8/layout/orgChart1"/>
    <dgm:cxn modelId="{90982CB1-83B6-4398-ACA9-369A2BDF6E24}" type="presOf" srcId="{DFA8FCB6-AC14-46FB-966B-FBD80C801AD0}" destId="{86C854BC-E17A-4F9F-B37D-4155238ECC14}" srcOrd="1" destOrd="0" presId="urn:microsoft.com/office/officeart/2005/8/layout/orgChart1"/>
    <dgm:cxn modelId="{216474BF-E99F-4B41-96D3-FC889CEA23FB}" type="presOf" srcId="{60589FD8-A075-4B30-85B7-99AB651CF1EB}" destId="{5279A026-5D62-4AEA-8537-62CE5F1156DE}" srcOrd="0" destOrd="0" presId="urn:microsoft.com/office/officeart/2005/8/layout/orgChart1"/>
    <dgm:cxn modelId="{E32953C4-D07F-44E1-9729-F59F9B89C4EB}" srcId="{0B51D6A0-B641-4FF9-AD9C-8E2688D06AE0}" destId="{419B3787-E198-4794-A3BB-DDFE3FAC98DC}" srcOrd="1" destOrd="0" parTransId="{80793BB8-DB7C-49BA-8097-D8B444118C5D}" sibTransId="{FA704027-0471-47D9-A209-E8A266F2C1A9}"/>
    <dgm:cxn modelId="{8396C0C6-68E9-4F6A-8AB3-8DB5EA523F05}" type="presOf" srcId="{DCEAB96E-0935-456E-B360-5BFFE30A68F1}" destId="{DA357A92-9696-4F9C-A112-7B170B1A32F4}" srcOrd="0" destOrd="0" presId="urn:microsoft.com/office/officeart/2005/8/layout/orgChart1"/>
    <dgm:cxn modelId="{D0F2F6C8-857E-4CA8-9150-F50C1D5D83AA}" type="presOf" srcId="{0BDB8C61-37D2-4A1B-AA88-9C34F6617322}" destId="{CCAC932B-E7A5-41CA-9075-A5814B1160C2}" srcOrd="0" destOrd="0" presId="urn:microsoft.com/office/officeart/2005/8/layout/orgChart1"/>
    <dgm:cxn modelId="{8457BECC-0047-4397-81C7-C2EF4027D5A7}" type="presOf" srcId="{D45B4FC2-83EE-4D91-A753-882C6B6B3DE8}" destId="{4D8B56CB-5455-4DA6-BE7F-0BD17F05D5BE}" srcOrd="1" destOrd="0" presId="urn:microsoft.com/office/officeart/2005/8/layout/orgChart1"/>
    <dgm:cxn modelId="{9D29CACE-1D12-48AC-BAB2-64B7BF4FA874}" type="presOf" srcId="{DFA8FCB6-AC14-46FB-966B-FBD80C801AD0}" destId="{BA70C47F-43CF-4986-B42D-9804734103C9}" srcOrd="0" destOrd="0" presId="urn:microsoft.com/office/officeart/2005/8/layout/orgChart1"/>
    <dgm:cxn modelId="{64FBCFD0-62A4-402B-BCC5-EB8B767BEA3F}" type="presOf" srcId="{8C673B06-AC09-43F0-950B-45E2773538DD}" destId="{E9FC7325-B1D8-4C51-8063-CCBF8B43AAE4}" srcOrd="1" destOrd="0" presId="urn:microsoft.com/office/officeart/2005/8/layout/orgChart1"/>
    <dgm:cxn modelId="{5897CFD7-9D88-4A67-9FB8-234E04B2498A}" srcId="{4E37B2AC-2A53-4977-AA82-168FDD783EC2}" destId="{94FB7E99-553E-4AFD-91AA-AB763A7883C0}" srcOrd="0" destOrd="0" parTransId="{07DB5E45-2FCA-44B1-972F-FA30ADEC6D2B}" sibTransId="{243C8432-E8C9-47F8-A73D-B66F9B3F6CC6}"/>
    <dgm:cxn modelId="{F34AEDD8-C635-4AFB-A9A0-888A6504E013}" srcId="{D45B4FC2-83EE-4D91-A753-882C6B6B3DE8}" destId="{309C09E8-0453-4287-84EA-7645C3BCCB07}" srcOrd="2" destOrd="0" parTransId="{59B4794B-51AC-4E72-9C58-0F1943AEF53B}" sibTransId="{F8B8860E-963D-4D6B-8092-7A04A21E2096}"/>
    <dgm:cxn modelId="{B47CC0E1-56C5-4F5F-900C-B96869F05D05}" srcId="{D45B4FC2-83EE-4D91-A753-882C6B6B3DE8}" destId="{C376833E-3E62-4402-B624-B833EE143A7F}" srcOrd="0" destOrd="0" parTransId="{0BDB8C61-37D2-4A1B-AA88-9C34F6617322}" sibTransId="{526632AE-C4D4-4510-88DB-5298AA606FBC}"/>
    <dgm:cxn modelId="{05C33DE4-8EE2-45E8-BB8B-23FB36BC0566}" type="presOf" srcId="{7982E760-F06D-4E2D-8FEB-110793D27282}" destId="{7AD6FBED-243D-48BE-B962-44517963D6A3}" srcOrd="1" destOrd="0" presId="urn:microsoft.com/office/officeart/2005/8/layout/orgChart1"/>
    <dgm:cxn modelId="{5190B2E5-652F-4389-904D-76FB1046CE05}" type="presOf" srcId="{927D72C5-1662-42F5-B624-8C68032D131B}" destId="{A214FD41-B2B7-44F7-85E2-9C07A90EA9CB}" srcOrd="0" destOrd="0" presId="urn:microsoft.com/office/officeart/2005/8/layout/orgChart1"/>
    <dgm:cxn modelId="{FBA98DE7-0D65-406E-AF88-E520A7E2B563}" srcId="{1534E458-2771-4742-83ED-C76BD66966BB}" destId="{927D72C5-1662-42F5-B624-8C68032D131B}" srcOrd="1" destOrd="0" parTransId="{8C0B97AB-05E2-474F-A63B-483B2EF4816D}" sibTransId="{2334980C-AF6F-47A5-A02D-4D7A25576FF2}"/>
    <dgm:cxn modelId="{58F35EEA-D65A-49E0-8944-F1890B9301CD}" type="presOf" srcId="{DCEAB96E-0935-456E-B360-5BFFE30A68F1}" destId="{DC992E2C-FBB8-4025-993F-D5B31ED702C3}" srcOrd="1" destOrd="0" presId="urn:microsoft.com/office/officeart/2005/8/layout/orgChart1"/>
    <dgm:cxn modelId="{D8CECBF1-E8E7-45CC-A700-41A14DCB54A0}" type="presOf" srcId="{D45B4FC2-83EE-4D91-A753-882C6B6B3DE8}" destId="{36B92954-C473-47DA-8B66-AEA32BC51659}" srcOrd="0" destOrd="0" presId="urn:microsoft.com/office/officeart/2005/8/layout/orgChart1"/>
    <dgm:cxn modelId="{1CA236F3-AEAD-41CA-AEBA-4C7640FFA252}" type="presOf" srcId="{7982E760-F06D-4E2D-8FEB-110793D27282}" destId="{B31B08C8-B11C-400F-831A-E7D97ECD39E3}" srcOrd="0" destOrd="0" presId="urn:microsoft.com/office/officeart/2005/8/layout/orgChart1"/>
    <dgm:cxn modelId="{96E78BF3-CC6C-46AA-B938-718D0928CD70}" type="presOf" srcId="{04362A1D-4E60-4B98-A02B-F9CC2E69759F}" destId="{B4066622-77C2-47A9-A2F8-719A31D5779B}" srcOrd="0" destOrd="0" presId="urn:microsoft.com/office/officeart/2005/8/layout/orgChart1"/>
    <dgm:cxn modelId="{8A0BF5F3-33CA-4DEB-AE8D-A36AB0AA0B00}" type="presOf" srcId="{0B51D6A0-B641-4FF9-AD9C-8E2688D06AE0}" destId="{85BEEA8D-0A64-41BB-A243-6A0AB3C81637}" srcOrd="1" destOrd="0" presId="urn:microsoft.com/office/officeart/2005/8/layout/orgChart1"/>
    <dgm:cxn modelId="{2CA301F7-B401-442D-A9E2-0C0DAFB97422}" type="presOf" srcId="{237BB484-7311-49F5-968B-C5BC05868FCB}" destId="{D6AFCAA8-1D71-4841-BD45-2563174BDE09}" srcOrd="0" destOrd="0" presId="urn:microsoft.com/office/officeart/2005/8/layout/orgChart1"/>
    <dgm:cxn modelId="{BDBE4FFA-2597-49CC-B62E-6D1FB1DA1357}" srcId="{4E37B2AC-2A53-4977-AA82-168FDD783EC2}" destId="{D45B4FC2-83EE-4D91-A753-882C6B6B3DE8}" srcOrd="4" destOrd="0" parTransId="{61C160EF-85CE-4DC4-AC68-E2C380FEC2F1}" sibTransId="{CC9920D7-F733-4416-8172-F71C49D1C40E}"/>
    <dgm:cxn modelId="{A4300AFD-C690-4438-BD3E-72C1FBDFD554}" srcId="{7FC5AF2C-5AF3-4BDF-B704-9E30AAAA15D7}" destId="{7982E760-F06D-4E2D-8FEB-110793D27282}" srcOrd="1" destOrd="0" parTransId="{A34A5624-73F5-4C7D-8E03-A2622B270633}" sibTransId="{B7A24121-C807-4D11-A3E4-2D1277ED4267}"/>
    <dgm:cxn modelId="{757EE62A-C2AE-4E4C-810D-D08889D53A8C}" type="presParOf" srcId="{5279A026-5D62-4AEA-8537-62CE5F1156DE}" destId="{4DE44CB9-D8EE-40A4-812A-F0F70C16AC63}" srcOrd="0" destOrd="0" presId="urn:microsoft.com/office/officeart/2005/8/layout/orgChart1"/>
    <dgm:cxn modelId="{6317D8CD-6C5E-42BC-B4B5-F883BCC0DF0D}" type="presParOf" srcId="{4DE44CB9-D8EE-40A4-812A-F0F70C16AC63}" destId="{137BDDB9-B256-400E-9300-D8AC13D0EC23}" srcOrd="0" destOrd="0" presId="urn:microsoft.com/office/officeart/2005/8/layout/orgChart1"/>
    <dgm:cxn modelId="{8DEC3983-3E09-42A5-8600-0090DFF8EE3C}" type="presParOf" srcId="{137BDDB9-B256-400E-9300-D8AC13D0EC23}" destId="{E5BDD1BF-DC39-4A16-AD41-260AE14ED4E6}" srcOrd="0" destOrd="0" presId="urn:microsoft.com/office/officeart/2005/8/layout/orgChart1"/>
    <dgm:cxn modelId="{6843F6BE-0618-45AD-8B65-7BF4BD77A05D}" type="presParOf" srcId="{137BDDB9-B256-400E-9300-D8AC13D0EC23}" destId="{935CFBD6-DAC5-4095-BDA5-B7F716F7033B}" srcOrd="1" destOrd="0" presId="urn:microsoft.com/office/officeart/2005/8/layout/orgChart1"/>
    <dgm:cxn modelId="{6155121D-B01C-45EA-BD13-D3EEAEBB5322}" type="presParOf" srcId="{4DE44CB9-D8EE-40A4-812A-F0F70C16AC63}" destId="{B0572F56-F9F7-4D78-A162-40088E6C4714}" srcOrd="1" destOrd="0" presId="urn:microsoft.com/office/officeart/2005/8/layout/orgChart1"/>
    <dgm:cxn modelId="{CA4C99C8-5D80-4A5A-86D3-629DBBD47B04}" type="presParOf" srcId="{B0572F56-F9F7-4D78-A162-40088E6C4714}" destId="{15217F90-DFEE-4E94-9A26-8DD985F15226}" srcOrd="0" destOrd="0" presId="urn:microsoft.com/office/officeart/2005/8/layout/orgChart1"/>
    <dgm:cxn modelId="{50C40383-2FFA-4F54-80DE-E32FC04D5268}" type="presParOf" srcId="{B0572F56-F9F7-4D78-A162-40088E6C4714}" destId="{62AED7FE-8B66-46B5-BEEF-8DC0878777D8}" srcOrd="1" destOrd="0" presId="urn:microsoft.com/office/officeart/2005/8/layout/orgChart1"/>
    <dgm:cxn modelId="{662D4960-7CA0-416B-A8C2-6FD541D91E4A}" type="presParOf" srcId="{62AED7FE-8B66-46B5-BEEF-8DC0878777D8}" destId="{10A9DF53-1B2D-40F8-B2DB-9D6B43345DF6}" srcOrd="0" destOrd="0" presId="urn:microsoft.com/office/officeart/2005/8/layout/orgChart1"/>
    <dgm:cxn modelId="{28629C82-04C4-4FD2-B223-9093CC6F711D}" type="presParOf" srcId="{10A9DF53-1B2D-40F8-B2DB-9D6B43345DF6}" destId="{4976CF45-DAE0-476E-8F98-023762674585}" srcOrd="0" destOrd="0" presId="urn:microsoft.com/office/officeart/2005/8/layout/orgChart1"/>
    <dgm:cxn modelId="{CF98A71C-E44E-45F6-808B-BF031733E84C}" type="presParOf" srcId="{10A9DF53-1B2D-40F8-B2DB-9D6B43345DF6}" destId="{921AAF04-098D-4199-825E-2486D1DB8D00}" srcOrd="1" destOrd="0" presId="urn:microsoft.com/office/officeart/2005/8/layout/orgChart1"/>
    <dgm:cxn modelId="{82DFB0F0-E0E0-4ABA-BE44-E7663610889C}" type="presParOf" srcId="{62AED7FE-8B66-46B5-BEEF-8DC0878777D8}" destId="{4892401D-3638-41C2-A48B-2486B1771E96}" srcOrd="1" destOrd="0" presId="urn:microsoft.com/office/officeart/2005/8/layout/orgChart1"/>
    <dgm:cxn modelId="{AE8F5C6F-219B-47CA-B8C3-9E2B21842AD3}" type="presParOf" srcId="{4892401D-3638-41C2-A48B-2486B1771E96}" destId="{D9C275B2-7DA6-4BFD-8A45-9C215050ACB2}" srcOrd="0" destOrd="0" presId="urn:microsoft.com/office/officeart/2005/8/layout/orgChart1"/>
    <dgm:cxn modelId="{AB036480-1EAC-4BF3-8ACF-2DFD534135CD}" type="presParOf" srcId="{4892401D-3638-41C2-A48B-2486B1771E96}" destId="{395A03AE-E279-456F-9CCB-5E965A030E79}" srcOrd="1" destOrd="0" presId="urn:microsoft.com/office/officeart/2005/8/layout/orgChart1"/>
    <dgm:cxn modelId="{E2B36777-02E0-4E6F-B271-C5C7DE04A43E}" type="presParOf" srcId="{395A03AE-E279-456F-9CCB-5E965A030E79}" destId="{31B74FD2-7496-4515-9EC4-3FCDBCEA3B52}" srcOrd="0" destOrd="0" presId="urn:microsoft.com/office/officeart/2005/8/layout/orgChart1"/>
    <dgm:cxn modelId="{64E25F9B-F67A-48C8-8CE2-202F95C7FEE9}" type="presParOf" srcId="{31B74FD2-7496-4515-9EC4-3FCDBCEA3B52}" destId="{60EF91F8-EF2F-4B4D-B27B-14D4ADCFF2B5}" srcOrd="0" destOrd="0" presId="urn:microsoft.com/office/officeart/2005/8/layout/orgChart1"/>
    <dgm:cxn modelId="{8A238D19-DBFC-4E63-98BE-F598D5317DC8}" type="presParOf" srcId="{31B74FD2-7496-4515-9EC4-3FCDBCEA3B52}" destId="{D6580401-3E23-4044-A39E-F17EA11DAA8C}" srcOrd="1" destOrd="0" presId="urn:microsoft.com/office/officeart/2005/8/layout/orgChart1"/>
    <dgm:cxn modelId="{043F9730-FDF1-4371-8B71-302777B0CCE4}" type="presParOf" srcId="{395A03AE-E279-456F-9CCB-5E965A030E79}" destId="{C91EFC91-C119-444A-B84F-6E2B3A7198AB}" srcOrd="1" destOrd="0" presId="urn:microsoft.com/office/officeart/2005/8/layout/orgChart1"/>
    <dgm:cxn modelId="{BE154DF2-07F9-4165-9E9F-7A4FFB78BAEA}" type="presParOf" srcId="{395A03AE-E279-456F-9CCB-5E965A030E79}" destId="{6864061C-6638-4E50-B2D6-E197AFCE5352}" srcOrd="2" destOrd="0" presId="urn:microsoft.com/office/officeart/2005/8/layout/orgChart1"/>
    <dgm:cxn modelId="{1A2C0BFB-0062-4CC8-ADF0-09C8CE0A0E5B}" type="presParOf" srcId="{4892401D-3638-41C2-A48B-2486B1771E96}" destId="{C07A26EB-E764-4593-B288-D79A4BB185F2}" srcOrd="2" destOrd="0" presId="urn:microsoft.com/office/officeart/2005/8/layout/orgChart1"/>
    <dgm:cxn modelId="{BBBFD5A7-03A5-43BD-802D-7EAECFA107BC}" type="presParOf" srcId="{4892401D-3638-41C2-A48B-2486B1771E96}" destId="{6CD14F06-A95B-4C05-B566-83490D684B4A}" srcOrd="3" destOrd="0" presId="urn:microsoft.com/office/officeart/2005/8/layout/orgChart1"/>
    <dgm:cxn modelId="{8B183E4C-EFB0-4031-86B9-74178048E571}" type="presParOf" srcId="{6CD14F06-A95B-4C05-B566-83490D684B4A}" destId="{2651C4E9-99F5-42CD-97CF-675C2EAF505D}" srcOrd="0" destOrd="0" presId="urn:microsoft.com/office/officeart/2005/8/layout/orgChart1"/>
    <dgm:cxn modelId="{A68FFED0-E65C-4AE0-BE7D-CB7B33B82631}" type="presParOf" srcId="{2651C4E9-99F5-42CD-97CF-675C2EAF505D}" destId="{6F4C2235-A6C4-4479-BBE4-82FC3A444133}" srcOrd="0" destOrd="0" presId="urn:microsoft.com/office/officeart/2005/8/layout/orgChart1"/>
    <dgm:cxn modelId="{346A7760-C1A5-484A-AF07-CD85847B505F}" type="presParOf" srcId="{2651C4E9-99F5-42CD-97CF-675C2EAF505D}" destId="{2CECA5F6-47A6-4FA1-86EB-1F62B1CD87B6}" srcOrd="1" destOrd="0" presId="urn:microsoft.com/office/officeart/2005/8/layout/orgChart1"/>
    <dgm:cxn modelId="{1FE3C487-DD66-4E03-BA69-77EF2FC3B27C}" type="presParOf" srcId="{6CD14F06-A95B-4C05-B566-83490D684B4A}" destId="{721786AD-5D0E-46BD-8AAD-1840B231ADC6}" srcOrd="1" destOrd="0" presId="urn:microsoft.com/office/officeart/2005/8/layout/orgChart1"/>
    <dgm:cxn modelId="{E1B287A8-C976-4023-B549-86E4697580BF}" type="presParOf" srcId="{6CD14F06-A95B-4C05-B566-83490D684B4A}" destId="{DF91C34A-3435-41DC-9E32-B3E1D697E87E}" srcOrd="2" destOrd="0" presId="urn:microsoft.com/office/officeart/2005/8/layout/orgChart1"/>
    <dgm:cxn modelId="{64C11836-FC03-4981-80F8-57F125AFA41E}" type="presParOf" srcId="{4892401D-3638-41C2-A48B-2486B1771E96}" destId="{217637AC-FE18-4DA2-94F0-BE029A6EC09A}" srcOrd="4" destOrd="0" presId="urn:microsoft.com/office/officeart/2005/8/layout/orgChart1"/>
    <dgm:cxn modelId="{DC46D39A-C2E9-4DDB-B048-153D1D282DED}" type="presParOf" srcId="{4892401D-3638-41C2-A48B-2486B1771E96}" destId="{BAFF4A57-B83F-4F3D-8CFB-2DC9969A1FCF}" srcOrd="5" destOrd="0" presId="urn:microsoft.com/office/officeart/2005/8/layout/orgChart1"/>
    <dgm:cxn modelId="{38F1008F-DEC9-4781-9C99-833FF6A643AB}" type="presParOf" srcId="{BAFF4A57-B83F-4F3D-8CFB-2DC9969A1FCF}" destId="{310C08DD-2EF0-4167-B014-E6B935BE3847}" srcOrd="0" destOrd="0" presId="urn:microsoft.com/office/officeart/2005/8/layout/orgChart1"/>
    <dgm:cxn modelId="{8C2589DA-F180-4E2E-A122-23B18D495640}" type="presParOf" srcId="{310C08DD-2EF0-4167-B014-E6B935BE3847}" destId="{DF7855C9-FD4F-4B85-8546-5B9603AC37C9}" srcOrd="0" destOrd="0" presId="urn:microsoft.com/office/officeart/2005/8/layout/orgChart1"/>
    <dgm:cxn modelId="{43AA5996-0B75-4F83-BDC9-003EF18312F9}" type="presParOf" srcId="{310C08DD-2EF0-4167-B014-E6B935BE3847}" destId="{D7EC342E-15FA-41FC-A7D3-AE7B395C4E54}" srcOrd="1" destOrd="0" presId="urn:microsoft.com/office/officeart/2005/8/layout/orgChart1"/>
    <dgm:cxn modelId="{60019C91-30D0-40D4-8F1F-6A6E875C6282}" type="presParOf" srcId="{BAFF4A57-B83F-4F3D-8CFB-2DC9969A1FCF}" destId="{D8ED4F14-7E2F-4F28-A25A-F9508F8BF700}" srcOrd="1" destOrd="0" presId="urn:microsoft.com/office/officeart/2005/8/layout/orgChart1"/>
    <dgm:cxn modelId="{B00FF4CD-9E64-4BC1-84F1-DB256CED4112}" type="presParOf" srcId="{BAFF4A57-B83F-4F3D-8CFB-2DC9969A1FCF}" destId="{FB6D12FE-A1C2-4374-972E-3C1EB63EB519}" srcOrd="2" destOrd="0" presId="urn:microsoft.com/office/officeart/2005/8/layout/orgChart1"/>
    <dgm:cxn modelId="{8DE338FF-659B-4365-9873-C12B78EB69EE}" type="presParOf" srcId="{62AED7FE-8B66-46B5-BEEF-8DC0878777D8}" destId="{93D4ABC9-99A8-4191-BBE0-ADCE3D7ACD02}" srcOrd="2" destOrd="0" presId="urn:microsoft.com/office/officeart/2005/8/layout/orgChart1"/>
    <dgm:cxn modelId="{CC7019A1-02F8-4751-8C3C-D0F8E8FE6877}" type="presParOf" srcId="{B0572F56-F9F7-4D78-A162-40088E6C4714}" destId="{A2504DB7-8904-4A62-BB35-325BF38AFF5E}" srcOrd="2" destOrd="0" presId="urn:microsoft.com/office/officeart/2005/8/layout/orgChart1"/>
    <dgm:cxn modelId="{13D22FE5-15E6-4BA1-AD71-FA91DAA57287}" type="presParOf" srcId="{B0572F56-F9F7-4D78-A162-40088E6C4714}" destId="{6DD5B6F9-06FD-445C-BCE0-C9F42E327EBC}" srcOrd="3" destOrd="0" presId="urn:microsoft.com/office/officeart/2005/8/layout/orgChart1"/>
    <dgm:cxn modelId="{BEF829F5-8954-486C-ACEB-A1397EA03F25}" type="presParOf" srcId="{6DD5B6F9-06FD-445C-BCE0-C9F42E327EBC}" destId="{653914FB-846C-4015-A7A9-01561921B4BE}" srcOrd="0" destOrd="0" presId="urn:microsoft.com/office/officeart/2005/8/layout/orgChart1"/>
    <dgm:cxn modelId="{70ED9EC6-5154-48BE-A3FB-E63A79795FD6}" type="presParOf" srcId="{653914FB-846C-4015-A7A9-01561921B4BE}" destId="{28D961AF-8D39-443F-BC18-894FBABC3852}" srcOrd="0" destOrd="0" presId="urn:microsoft.com/office/officeart/2005/8/layout/orgChart1"/>
    <dgm:cxn modelId="{65134222-2A8B-4E41-AE1F-7ED5EAFE9EA3}" type="presParOf" srcId="{653914FB-846C-4015-A7A9-01561921B4BE}" destId="{67BFB017-35E6-40F2-8F81-EE3429D5F7D2}" srcOrd="1" destOrd="0" presId="urn:microsoft.com/office/officeart/2005/8/layout/orgChart1"/>
    <dgm:cxn modelId="{22BF5641-A3A0-4CCC-8392-A15E1A9045E0}" type="presParOf" srcId="{6DD5B6F9-06FD-445C-BCE0-C9F42E327EBC}" destId="{F7D098C5-6EB4-4A6E-89BD-C89722BBF764}" srcOrd="1" destOrd="0" presId="urn:microsoft.com/office/officeart/2005/8/layout/orgChart1"/>
    <dgm:cxn modelId="{BBB10C69-4064-472A-9565-51FD2D21AA63}" type="presParOf" srcId="{F7D098C5-6EB4-4A6E-89BD-C89722BBF764}" destId="{6854DB14-3D99-468B-AC16-BB4A1902D05D}" srcOrd="0" destOrd="0" presId="urn:microsoft.com/office/officeart/2005/8/layout/orgChart1"/>
    <dgm:cxn modelId="{70729F67-2F89-447C-A32F-767C134FC1A9}" type="presParOf" srcId="{F7D098C5-6EB4-4A6E-89BD-C89722BBF764}" destId="{F5A9D455-660C-4920-B5E3-60AB92A65BD0}" srcOrd="1" destOrd="0" presId="urn:microsoft.com/office/officeart/2005/8/layout/orgChart1"/>
    <dgm:cxn modelId="{55F035CE-DE92-4E05-9015-1A0773A362B7}" type="presParOf" srcId="{F5A9D455-660C-4920-B5E3-60AB92A65BD0}" destId="{B6E47477-4C0B-4A7C-96B7-41D72B76ABD1}" srcOrd="0" destOrd="0" presId="urn:microsoft.com/office/officeart/2005/8/layout/orgChart1"/>
    <dgm:cxn modelId="{400CD2C1-7AB2-4108-9F4D-B0A31AAD2875}" type="presParOf" srcId="{B6E47477-4C0B-4A7C-96B7-41D72B76ABD1}" destId="{46B182E1-56B0-423C-B8FE-9A62D154983E}" srcOrd="0" destOrd="0" presId="urn:microsoft.com/office/officeart/2005/8/layout/orgChart1"/>
    <dgm:cxn modelId="{98B2FFA1-DDC3-4A4A-AEE6-A8111D465039}" type="presParOf" srcId="{B6E47477-4C0B-4A7C-96B7-41D72B76ABD1}" destId="{E9FC7325-B1D8-4C51-8063-CCBF8B43AAE4}" srcOrd="1" destOrd="0" presId="urn:microsoft.com/office/officeart/2005/8/layout/orgChart1"/>
    <dgm:cxn modelId="{426BE265-943F-426F-87A2-5D1D75B2D093}" type="presParOf" srcId="{F5A9D455-660C-4920-B5E3-60AB92A65BD0}" destId="{C031B727-DA4B-4518-8F86-40B797139BCD}" srcOrd="1" destOrd="0" presId="urn:microsoft.com/office/officeart/2005/8/layout/orgChart1"/>
    <dgm:cxn modelId="{F4C52EAC-24CF-43D7-B59C-37864735922E}" type="presParOf" srcId="{F5A9D455-660C-4920-B5E3-60AB92A65BD0}" destId="{2692508A-39DE-460B-92C9-32311FAE0776}" srcOrd="2" destOrd="0" presId="urn:microsoft.com/office/officeart/2005/8/layout/orgChart1"/>
    <dgm:cxn modelId="{C9D39504-5ABD-44CB-81F1-8916B43F9D4A}" type="presParOf" srcId="{F7D098C5-6EB4-4A6E-89BD-C89722BBF764}" destId="{0DA0B410-9F94-4D4A-9933-4E1483CFD6B5}" srcOrd="2" destOrd="0" presId="urn:microsoft.com/office/officeart/2005/8/layout/orgChart1"/>
    <dgm:cxn modelId="{570431B0-ED93-43B6-BA91-C176F792E608}" type="presParOf" srcId="{F7D098C5-6EB4-4A6E-89BD-C89722BBF764}" destId="{651ADF91-8E8C-4FE5-8C26-98A69974EFD7}" srcOrd="3" destOrd="0" presId="urn:microsoft.com/office/officeart/2005/8/layout/orgChart1"/>
    <dgm:cxn modelId="{1D72D828-86BD-4391-A0B4-422D778626E1}" type="presParOf" srcId="{651ADF91-8E8C-4FE5-8C26-98A69974EFD7}" destId="{D6713246-885C-41EC-B18C-4A43D1079A84}" srcOrd="0" destOrd="0" presId="urn:microsoft.com/office/officeart/2005/8/layout/orgChart1"/>
    <dgm:cxn modelId="{55B3BE32-1A4E-4E3A-BD6C-9A1F669040FB}" type="presParOf" srcId="{D6713246-885C-41EC-B18C-4A43D1079A84}" destId="{B31B08C8-B11C-400F-831A-E7D97ECD39E3}" srcOrd="0" destOrd="0" presId="urn:microsoft.com/office/officeart/2005/8/layout/orgChart1"/>
    <dgm:cxn modelId="{66E8767B-15DF-4F7D-91BD-16B0A4E91C9C}" type="presParOf" srcId="{D6713246-885C-41EC-B18C-4A43D1079A84}" destId="{7AD6FBED-243D-48BE-B962-44517963D6A3}" srcOrd="1" destOrd="0" presId="urn:microsoft.com/office/officeart/2005/8/layout/orgChart1"/>
    <dgm:cxn modelId="{17779083-93DA-40B5-B37A-236FDA5E5A98}" type="presParOf" srcId="{651ADF91-8E8C-4FE5-8C26-98A69974EFD7}" destId="{6616AA0F-9741-4F15-928D-CEAFA00E2387}" srcOrd="1" destOrd="0" presId="urn:microsoft.com/office/officeart/2005/8/layout/orgChart1"/>
    <dgm:cxn modelId="{C8168DD9-1B96-49AB-8C0D-B7DE62977041}" type="presParOf" srcId="{651ADF91-8E8C-4FE5-8C26-98A69974EFD7}" destId="{9B3C58FF-03D3-4646-95DF-4211EB7B72D2}" srcOrd="2" destOrd="0" presId="urn:microsoft.com/office/officeart/2005/8/layout/orgChart1"/>
    <dgm:cxn modelId="{BED11ED1-D115-4EFF-80D7-ED216F12882E}" type="presParOf" srcId="{F7D098C5-6EB4-4A6E-89BD-C89722BBF764}" destId="{7E0EC867-5FDE-47C2-AC7F-FEE059C2B228}" srcOrd="4" destOrd="0" presId="urn:microsoft.com/office/officeart/2005/8/layout/orgChart1"/>
    <dgm:cxn modelId="{BA5FBEB4-976F-4E18-AA81-EE3D5C57AB51}" type="presParOf" srcId="{F7D098C5-6EB4-4A6E-89BD-C89722BBF764}" destId="{22CFFE82-21D9-40D4-995F-8248CD8B36EC}" srcOrd="5" destOrd="0" presId="urn:microsoft.com/office/officeart/2005/8/layout/orgChart1"/>
    <dgm:cxn modelId="{21E8323E-C2EA-47D9-9563-9F2F1A765E86}" type="presParOf" srcId="{22CFFE82-21D9-40D4-995F-8248CD8B36EC}" destId="{51DDAED1-451B-40E0-8C69-472B9AA08A49}" srcOrd="0" destOrd="0" presId="urn:microsoft.com/office/officeart/2005/8/layout/orgChart1"/>
    <dgm:cxn modelId="{1DCC1ADF-CD5E-4CAB-A0EA-39EA9D0C24A9}" type="presParOf" srcId="{51DDAED1-451B-40E0-8C69-472B9AA08A49}" destId="{BA47E4C6-1CFA-4039-9978-3B9C29AB8787}" srcOrd="0" destOrd="0" presId="urn:microsoft.com/office/officeart/2005/8/layout/orgChart1"/>
    <dgm:cxn modelId="{959F3E4A-593E-414F-A2B2-05F617E0F6FA}" type="presParOf" srcId="{51DDAED1-451B-40E0-8C69-472B9AA08A49}" destId="{AA75E9D6-A22D-4F98-A174-E6D6FAA5447F}" srcOrd="1" destOrd="0" presId="urn:microsoft.com/office/officeart/2005/8/layout/orgChart1"/>
    <dgm:cxn modelId="{13DD86BD-770A-42C7-AF7C-97B9E9930523}" type="presParOf" srcId="{22CFFE82-21D9-40D4-995F-8248CD8B36EC}" destId="{EBCDD944-AFAE-4AF0-8942-B8876B935AAE}" srcOrd="1" destOrd="0" presId="urn:microsoft.com/office/officeart/2005/8/layout/orgChart1"/>
    <dgm:cxn modelId="{37FE6115-A365-42D3-9D77-3774AC24EF57}" type="presParOf" srcId="{22CFFE82-21D9-40D4-995F-8248CD8B36EC}" destId="{05949ABB-B1E2-4429-9268-979A9CC55DCB}" srcOrd="2" destOrd="0" presId="urn:microsoft.com/office/officeart/2005/8/layout/orgChart1"/>
    <dgm:cxn modelId="{B454A194-AC35-406B-BF8E-CDD018F2389D}" type="presParOf" srcId="{6DD5B6F9-06FD-445C-BCE0-C9F42E327EBC}" destId="{47DC0AC1-8839-47AE-862C-6D06789B7484}" srcOrd="2" destOrd="0" presId="urn:microsoft.com/office/officeart/2005/8/layout/orgChart1"/>
    <dgm:cxn modelId="{4313BE50-B4A9-42D6-99AD-2E90FDDB8804}" type="presParOf" srcId="{B0572F56-F9F7-4D78-A162-40088E6C4714}" destId="{B4066622-77C2-47A9-A2F8-719A31D5779B}" srcOrd="4" destOrd="0" presId="urn:microsoft.com/office/officeart/2005/8/layout/orgChart1"/>
    <dgm:cxn modelId="{887035A3-19FD-4163-A738-0C51B402B95D}" type="presParOf" srcId="{B0572F56-F9F7-4D78-A162-40088E6C4714}" destId="{C7725CC5-1595-4DC6-BECE-8D6A15294D73}" srcOrd="5" destOrd="0" presId="urn:microsoft.com/office/officeart/2005/8/layout/orgChart1"/>
    <dgm:cxn modelId="{16259B86-040E-49EE-928C-B18EA9B7BD8B}" type="presParOf" srcId="{C7725CC5-1595-4DC6-BECE-8D6A15294D73}" destId="{EF145EDC-1380-4093-8B74-B98F81E5DE8E}" srcOrd="0" destOrd="0" presId="urn:microsoft.com/office/officeart/2005/8/layout/orgChart1"/>
    <dgm:cxn modelId="{33EAC67A-F40A-4FF1-8E95-44A9CD6F5AEF}" type="presParOf" srcId="{EF145EDC-1380-4093-8B74-B98F81E5DE8E}" destId="{29BEE278-9FB1-49AD-A3DB-A831BFD47437}" srcOrd="0" destOrd="0" presId="urn:microsoft.com/office/officeart/2005/8/layout/orgChart1"/>
    <dgm:cxn modelId="{6768ED63-C6BB-41F2-96E6-CC696CFCB5F7}" type="presParOf" srcId="{EF145EDC-1380-4093-8B74-B98F81E5DE8E}" destId="{E4BA83CB-2909-4CF2-870E-F6F4DCB8D7A2}" srcOrd="1" destOrd="0" presId="urn:microsoft.com/office/officeart/2005/8/layout/orgChart1"/>
    <dgm:cxn modelId="{D89DD5C4-2EB5-4C1D-A8D5-9ADBA9984498}" type="presParOf" srcId="{C7725CC5-1595-4DC6-BECE-8D6A15294D73}" destId="{6BC80C79-0B3C-4A61-A0CE-DAE744441EC5}" srcOrd="1" destOrd="0" presId="urn:microsoft.com/office/officeart/2005/8/layout/orgChart1"/>
    <dgm:cxn modelId="{F7EF5A25-B8EB-48AC-9FFD-D32A40E19B50}" type="presParOf" srcId="{6BC80C79-0B3C-4A61-A0CE-DAE744441EC5}" destId="{193217FD-37F8-4F1A-800E-A2A9A7AB9906}" srcOrd="0" destOrd="0" presId="urn:microsoft.com/office/officeart/2005/8/layout/orgChart1"/>
    <dgm:cxn modelId="{F3508CDD-E165-4F6F-A1BC-9DDB3A03BE75}" type="presParOf" srcId="{6BC80C79-0B3C-4A61-A0CE-DAE744441EC5}" destId="{090F9D7A-29AF-423C-9DE5-D871D87A2037}" srcOrd="1" destOrd="0" presId="urn:microsoft.com/office/officeart/2005/8/layout/orgChart1"/>
    <dgm:cxn modelId="{9E45529C-A768-4616-BCA8-4D17339CCBF9}" type="presParOf" srcId="{090F9D7A-29AF-423C-9DE5-D871D87A2037}" destId="{74369FD5-3D9C-472C-882A-4E062EFFE5B5}" srcOrd="0" destOrd="0" presId="urn:microsoft.com/office/officeart/2005/8/layout/orgChart1"/>
    <dgm:cxn modelId="{5DE00C3B-E147-46F6-BD2F-F0582A89413E}" type="presParOf" srcId="{74369FD5-3D9C-472C-882A-4E062EFFE5B5}" destId="{DA357A92-9696-4F9C-A112-7B170B1A32F4}" srcOrd="0" destOrd="0" presId="urn:microsoft.com/office/officeart/2005/8/layout/orgChart1"/>
    <dgm:cxn modelId="{E5AC36C1-F0E6-41F7-AF90-0793977DDF76}" type="presParOf" srcId="{74369FD5-3D9C-472C-882A-4E062EFFE5B5}" destId="{DC992E2C-FBB8-4025-993F-D5B31ED702C3}" srcOrd="1" destOrd="0" presId="urn:microsoft.com/office/officeart/2005/8/layout/orgChart1"/>
    <dgm:cxn modelId="{3E822EC0-E4E1-4B40-B004-DE4DBB3C50F8}" type="presParOf" srcId="{090F9D7A-29AF-423C-9DE5-D871D87A2037}" destId="{5FFB716F-73EA-40F0-9CCC-4E51BED32027}" srcOrd="1" destOrd="0" presId="urn:microsoft.com/office/officeart/2005/8/layout/orgChart1"/>
    <dgm:cxn modelId="{D98280CD-52E6-4990-9440-9F9B67CB5260}" type="presParOf" srcId="{090F9D7A-29AF-423C-9DE5-D871D87A2037}" destId="{BFDFE30F-6413-429E-8A12-F0F5B1ED78CD}" srcOrd="2" destOrd="0" presId="urn:microsoft.com/office/officeart/2005/8/layout/orgChart1"/>
    <dgm:cxn modelId="{5C7D3099-29F1-4EDC-8768-F15D0DC0CD21}" type="presParOf" srcId="{6BC80C79-0B3C-4A61-A0CE-DAE744441EC5}" destId="{92D254FB-89C2-49ED-9016-B119086A6EA4}" srcOrd="2" destOrd="0" presId="urn:microsoft.com/office/officeart/2005/8/layout/orgChart1"/>
    <dgm:cxn modelId="{E3765774-D66D-464E-925E-F65E5C1F92E4}" type="presParOf" srcId="{6BC80C79-0B3C-4A61-A0CE-DAE744441EC5}" destId="{EFDECABB-0256-4822-B42D-9245D9A66CFA}" srcOrd="3" destOrd="0" presId="urn:microsoft.com/office/officeart/2005/8/layout/orgChart1"/>
    <dgm:cxn modelId="{BEC29782-5A9E-474B-9C44-8A2440A5E4B6}" type="presParOf" srcId="{EFDECABB-0256-4822-B42D-9245D9A66CFA}" destId="{BE61CFD0-C3F0-44E9-BB6B-CEA626CE4F09}" srcOrd="0" destOrd="0" presId="urn:microsoft.com/office/officeart/2005/8/layout/orgChart1"/>
    <dgm:cxn modelId="{7A44DCD9-4700-4D72-9E0D-2EFDCF51E186}" type="presParOf" srcId="{BE61CFD0-C3F0-44E9-BB6B-CEA626CE4F09}" destId="{A214FD41-B2B7-44F7-85E2-9C07A90EA9CB}" srcOrd="0" destOrd="0" presId="urn:microsoft.com/office/officeart/2005/8/layout/orgChart1"/>
    <dgm:cxn modelId="{BE2D9A55-CE6A-4BF2-856A-686CF3EC4E3E}" type="presParOf" srcId="{BE61CFD0-C3F0-44E9-BB6B-CEA626CE4F09}" destId="{581F4FCF-1706-4FFB-A21C-275158CF0BBB}" srcOrd="1" destOrd="0" presId="urn:microsoft.com/office/officeart/2005/8/layout/orgChart1"/>
    <dgm:cxn modelId="{FED75B3D-2C82-4C97-8A82-1D49F7276C7D}" type="presParOf" srcId="{EFDECABB-0256-4822-B42D-9245D9A66CFA}" destId="{9A997757-CB4A-4319-BA42-8F66BA4DD347}" srcOrd="1" destOrd="0" presId="urn:microsoft.com/office/officeart/2005/8/layout/orgChart1"/>
    <dgm:cxn modelId="{F1F33C8D-D6D4-401D-888D-E878EFA5BD6F}" type="presParOf" srcId="{EFDECABB-0256-4822-B42D-9245D9A66CFA}" destId="{C18E5558-4820-44BA-BF96-4A303A63C1AC}" srcOrd="2" destOrd="0" presId="urn:microsoft.com/office/officeart/2005/8/layout/orgChart1"/>
    <dgm:cxn modelId="{3CCFAEBD-BA06-4294-8C46-5E853AAB7230}" type="presParOf" srcId="{6BC80C79-0B3C-4A61-A0CE-DAE744441EC5}" destId="{F7E988EA-188A-4BC1-89BC-727E70C2669E}" srcOrd="4" destOrd="0" presId="urn:microsoft.com/office/officeart/2005/8/layout/orgChart1"/>
    <dgm:cxn modelId="{578A6090-D584-42FC-B262-7D5EC66FC982}" type="presParOf" srcId="{6BC80C79-0B3C-4A61-A0CE-DAE744441EC5}" destId="{055E1CBC-80E9-43F9-A013-231B6839334A}" srcOrd="5" destOrd="0" presId="urn:microsoft.com/office/officeart/2005/8/layout/orgChart1"/>
    <dgm:cxn modelId="{4D0C9B52-07E9-43FC-8310-728195C7B229}" type="presParOf" srcId="{055E1CBC-80E9-43F9-A013-231B6839334A}" destId="{57E48249-E46B-406D-9737-ECB854C6FA1B}" srcOrd="0" destOrd="0" presId="urn:microsoft.com/office/officeart/2005/8/layout/orgChart1"/>
    <dgm:cxn modelId="{12920A5F-2617-47E8-BB92-7E78572ABCE1}" type="presParOf" srcId="{57E48249-E46B-406D-9737-ECB854C6FA1B}" destId="{1CACE03C-8863-49AB-A6EC-62386FAF4BA3}" srcOrd="0" destOrd="0" presId="urn:microsoft.com/office/officeart/2005/8/layout/orgChart1"/>
    <dgm:cxn modelId="{A3E970D0-FE30-43A9-99B2-CFADFF2B986C}" type="presParOf" srcId="{57E48249-E46B-406D-9737-ECB854C6FA1B}" destId="{72522871-9E3A-492F-A243-1BB7CDDF6F29}" srcOrd="1" destOrd="0" presId="urn:microsoft.com/office/officeart/2005/8/layout/orgChart1"/>
    <dgm:cxn modelId="{BA1E91B1-B800-425E-BD3F-B7C3D13841A0}" type="presParOf" srcId="{055E1CBC-80E9-43F9-A013-231B6839334A}" destId="{67F2516F-7478-4FB3-9901-45CF4822303E}" srcOrd="1" destOrd="0" presId="urn:microsoft.com/office/officeart/2005/8/layout/orgChart1"/>
    <dgm:cxn modelId="{80B0203C-F3AC-4085-9839-7B946EC392A9}" type="presParOf" srcId="{055E1CBC-80E9-43F9-A013-231B6839334A}" destId="{37C0A553-F1E1-4E98-86FD-50F481D988D8}" srcOrd="2" destOrd="0" presId="urn:microsoft.com/office/officeart/2005/8/layout/orgChart1"/>
    <dgm:cxn modelId="{67D32DFB-C6A8-4CBE-BE3B-B53524A150B8}" type="presParOf" srcId="{6BC80C79-0B3C-4A61-A0CE-DAE744441EC5}" destId="{6142E720-0C6C-424D-9C08-12001E1C6174}" srcOrd="6" destOrd="0" presId="urn:microsoft.com/office/officeart/2005/8/layout/orgChart1"/>
    <dgm:cxn modelId="{9848D5CC-EA61-427A-8D67-746EDD3F2443}" type="presParOf" srcId="{6BC80C79-0B3C-4A61-A0CE-DAE744441EC5}" destId="{9051E6A3-5E38-46C2-9D44-5889F82C4622}" srcOrd="7" destOrd="0" presId="urn:microsoft.com/office/officeart/2005/8/layout/orgChart1"/>
    <dgm:cxn modelId="{B8C33609-610B-40D7-8E48-CA5209561969}" type="presParOf" srcId="{9051E6A3-5E38-46C2-9D44-5889F82C4622}" destId="{9DBE4ACC-C9E3-4F3E-81DD-872C41C0A53B}" srcOrd="0" destOrd="0" presId="urn:microsoft.com/office/officeart/2005/8/layout/orgChart1"/>
    <dgm:cxn modelId="{15F9C949-0D8D-4F7B-98AC-4070D849C619}" type="presParOf" srcId="{9DBE4ACC-C9E3-4F3E-81DD-872C41C0A53B}" destId="{BA70C47F-43CF-4986-B42D-9804734103C9}" srcOrd="0" destOrd="0" presId="urn:microsoft.com/office/officeart/2005/8/layout/orgChart1"/>
    <dgm:cxn modelId="{394A1C95-7B2A-468A-B4FC-1C937BC4CBD6}" type="presParOf" srcId="{9DBE4ACC-C9E3-4F3E-81DD-872C41C0A53B}" destId="{86C854BC-E17A-4F9F-B37D-4155238ECC14}" srcOrd="1" destOrd="0" presId="urn:microsoft.com/office/officeart/2005/8/layout/orgChart1"/>
    <dgm:cxn modelId="{5DC56E7B-BF03-4548-BF06-F18A4A76595D}" type="presParOf" srcId="{9051E6A3-5E38-46C2-9D44-5889F82C4622}" destId="{6F14955A-4FF8-4293-85A6-79F0D0396EC7}" srcOrd="1" destOrd="0" presId="urn:microsoft.com/office/officeart/2005/8/layout/orgChart1"/>
    <dgm:cxn modelId="{7DBEA744-BC0D-4CD7-9425-AC98700BFD61}" type="presParOf" srcId="{9051E6A3-5E38-46C2-9D44-5889F82C4622}" destId="{2176D38E-EA2D-4676-8D18-D7886C2A4AE5}" srcOrd="2" destOrd="0" presId="urn:microsoft.com/office/officeart/2005/8/layout/orgChart1"/>
    <dgm:cxn modelId="{6660EB2F-5F06-440A-8B96-BEBC4C12CAAB}" type="presParOf" srcId="{C7725CC5-1595-4DC6-BECE-8D6A15294D73}" destId="{7B2416A2-89A5-426E-941F-82B3DF1E7325}" srcOrd="2" destOrd="0" presId="urn:microsoft.com/office/officeart/2005/8/layout/orgChart1"/>
    <dgm:cxn modelId="{40BD1BFA-7881-4809-B5CE-EA086CABB328}" type="presParOf" srcId="{B0572F56-F9F7-4D78-A162-40088E6C4714}" destId="{37FD1123-8C13-4A86-B8A9-9A99C310F562}" srcOrd="6" destOrd="0" presId="urn:microsoft.com/office/officeart/2005/8/layout/orgChart1"/>
    <dgm:cxn modelId="{A4B8101D-BDB2-459C-8FA2-1F976CA5E1B9}" type="presParOf" srcId="{B0572F56-F9F7-4D78-A162-40088E6C4714}" destId="{BC0BBD19-C445-45CA-AFBD-0962DB4B7DC1}" srcOrd="7" destOrd="0" presId="urn:microsoft.com/office/officeart/2005/8/layout/orgChart1"/>
    <dgm:cxn modelId="{4EFEFE53-37EB-4B5C-A5E4-85845236FF1E}" type="presParOf" srcId="{BC0BBD19-C445-45CA-AFBD-0962DB4B7DC1}" destId="{03AD397A-6C92-4943-BF27-0348664F6202}" srcOrd="0" destOrd="0" presId="urn:microsoft.com/office/officeart/2005/8/layout/orgChart1"/>
    <dgm:cxn modelId="{598B438D-5638-4E97-BA18-2A48F3F99249}" type="presParOf" srcId="{03AD397A-6C92-4943-BF27-0348664F6202}" destId="{B328AB81-D22A-4C09-B209-3AFB8BD1D3BD}" srcOrd="0" destOrd="0" presId="urn:microsoft.com/office/officeart/2005/8/layout/orgChart1"/>
    <dgm:cxn modelId="{926E73A5-45F3-43D3-B29C-0A5DC448A6CE}" type="presParOf" srcId="{03AD397A-6C92-4943-BF27-0348664F6202}" destId="{85BEEA8D-0A64-41BB-A243-6A0AB3C81637}" srcOrd="1" destOrd="0" presId="urn:microsoft.com/office/officeart/2005/8/layout/orgChart1"/>
    <dgm:cxn modelId="{B34E270F-1E1A-4219-AECA-749299FB96B1}" type="presParOf" srcId="{BC0BBD19-C445-45CA-AFBD-0962DB4B7DC1}" destId="{0781E9B3-0F35-44D2-A30E-D8763A3135E5}" srcOrd="1" destOrd="0" presId="urn:microsoft.com/office/officeart/2005/8/layout/orgChart1"/>
    <dgm:cxn modelId="{2D6AC203-CC68-40B3-809F-A2B5772E1A70}" type="presParOf" srcId="{0781E9B3-0F35-44D2-A30E-D8763A3135E5}" destId="{609EBC90-A2E6-409A-B8C5-FFB1FD479B5D}" srcOrd="0" destOrd="0" presId="urn:microsoft.com/office/officeart/2005/8/layout/orgChart1"/>
    <dgm:cxn modelId="{C8C9746F-7F67-468F-A028-798683905A9A}" type="presParOf" srcId="{0781E9B3-0F35-44D2-A30E-D8763A3135E5}" destId="{69A2DE7A-453C-4112-93ED-DDACFFCC33BE}" srcOrd="1" destOrd="0" presId="urn:microsoft.com/office/officeart/2005/8/layout/orgChart1"/>
    <dgm:cxn modelId="{96A22A25-6364-43F9-A9B4-2EB859A084C2}" type="presParOf" srcId="{69A2DE7A-453C-4112-93ED-DDACFFCC33BE}" destId="{01425B85-4ABF-4E1A-9C93-110CAEBFFD8A}" srcOrd="0" destOrd="0" presId="urn:microsoft.com/office/officeart/2005/8/layout/orgChart1"/>
    <dgm:cxn modelId="{396C3D9C-CDEE-4867-A2D7-5BDC7E1DB6E9}" type="presParOf" srcId="{01425B85-4ABF-4E1A-9C93-110CAEBFFD8A}" destId="{8CF99B5F-035A-4925-A4D4-A4903534FF96}" srcOrd="0" destOrd="0" presId="urn:microsoft.com/office/officeart/2005/8/layout/orgChart1"/>
    <dgm:cxn modelId="{3DDC667B-1FCB-423D-A6CA-4FA46AD7317B}" type="presParOf" srcId="{01425B85-4ABF-4E1A-9C93-110CAEBFFD8A}" destId="{A16BAF7B-D080-4C8F-B9FB-381BB5622938}" srcOrd="1" destOrd="0" presId="urn:microsoft.com/office/officeart/2005/8/layout/orgChart1"/>
    <dgm:cxn modelId="{996238C3-7D79-4001-B85C-70511BAE9C3F}" type="presParOf" srcId="{69A2DE7A-453C-4112-93ED-DDACFFCC33BE}" destId="{33A2621D-7DE0-4D90-A347-B6BEE7B0884E}" srcOrd="1" destOrd="0" presId="urn:microsoft.com/office/officeart/2005/8/layout/orgChart1"/>
    <dgm:cxn modelId="{9F7B0B87-5B5F-46AC-B921-AD5A6A1DEB7A}" type="presParOf" srcId="{69A2DE7A-453C-4112-93ED-DDACFFCC33BE}" destId="{34AB5715-A430-4818-90E2-69D8462F69F5}" srcOrd="2" destOrd="0" presId="urn:microsoft.com/office/officeart/2005/8/layout/orgChart1"/>
    <dgm:cxn modelId="{584638BB-3BE1-4FF2-927E-ECDDBE6649C5}" type="presParOf" srcId="{0781E9B3-0F35-44D2-A30E-D8763A3135E5}" destId="{51F5788C-5138-4CCE-A669-4A545CD1EC42}" srcOrd="2" destOrd="0" presId="urn:microsoft.com/office/officeart/2005/8/layout/orgChart1"/>
    <dgm:cxn modelId="{5C21A62C-D495-4B74-9816-BFD9E081EBF4}" type="presParOf" srcId="{0781E9B3-0F35-44D2-A30E-D8763A3135E5}" destId="{8913E2F5-07C8-46D8-B23F-B1EC7C035268}" srcOrd="3" destOrd="0" presId="urn:microsoft.com/office/officeart/2005/8/layout/orgChart1"/>
    <dgm:cxn modelId="{842959D1-7AF0-43DE-8AA6-9A793D3C7186}" type="presParOf" srcId="{8913E2F5-07C8-46D8-B23F-B1EC7C035268}" destId="{10BEFBE0-438A-4D7B-8E34-F9BB7D3D6D55}" srcOrd="0" destOrd="0" presId="urn:microsoft.com/office/officeart/2005/8/layout/orgChart1"/>
    <dgm:cxn modelId="{FDA0AA25-10BB-4ECE-911C-7FFE914454A4}" type="presParOf" srcId="{10BEFBE0-438A-4D7B-8E34-F9BB7D3D6D55}" destId="{8A9799B3-6E41-49D8-9547-8481957BDBBF}" srcOrd="0" destOrd="0" presId="urn:microsoft.com/office/officeart/2005/8/layout/orgChart1"/>
    <dgm:cxn modelId="{78F702F6-85A8-431F-88F5-48C81252FA98}" type="presParOf" srcId="{10BEFBE0-438A-4D7B-8E34-F9BB7D3D6D55}" destId="{B84963C8-DA47-4265-A936-8FBD3E7DAD54}" srcOrd="1" destOrd="0" presId="urn:microsoft.com/office/officeart/2005/8/layout/orgChart1"/>
    <dgm:cxn modelId="{F275404A-2968-4D0C-A8FE-F66288266456}" type="presParOf" srcId="{8913E2F5-07C8-46D8-B23F-B1EC7C035268}" destId="{6CBB8ADB-B035-4947-B416-2D1928709FBA}" srcOrd="1" destOrd="0" presId="urn:microsoft.com/office/officeart/2005/8/layout/orgChart1"/>
    <dgm:cxn modelId="{D8268D11-404B-4891-92A6-B57D3256782B}" type="presParOf" srcId="{8913E2F5-07C8-46D8-B23F-B1EC7C035268}" destId="{FB5AFCE7-7BF8-4601-A73D-C828B3CC82F5}" srcOrd="2" destOrd="0" presId="urn:microsoft.com/office/officeart/2005/8/layout/orgChart1"/>
    <dgm:cxn modelId="{BCBF68FD-B5AD-4C51-9987-C6AD424ED313}" type="presParOf" srcId="{BC0BBD19-C445-45CA-AFBD-0962DB4B7DC1}" destId="{27F01A13-2057-400F-BACE-3CD2292AC4A7}" srcOrd="2" destOrd="0" presId="urn:microsoft.com/office/officeart/2005/8/layout/orgChart1"/>
    <dgm:cxn modelId="{74BEDA50-4909-4245-9C1F-4366AFF0439A}" type="presParOf" srcId="{B0572F56-F9F7-4D78-A162-40088E6C4714}" destId="{54465A04-3AC5-4ED8-95C8-240B70BE49CC}" srcOrd="8" destOrd="0" presId="urn:microsoft.com/office/officeart/2005/8/layout/orgChart1"/>
    <dgm:cxn modelId="{41956FA6-4013-4B61-9B6D-93CC45BEEFA2}" type="presParOf" srcId="{B0572F56-F9F7-4D78-A162-40088E6C4714}" destId="{9EDABE71-DE2A-4B40-B4C1-E90401549E13}" srcOrd="9" destOrd="0" presId="urn:microsoft.com/office/officeart/2005/8/layout/orgChart1"/>
    <dgm:cxn modelId="{1655FC3C-F8C9-422E-BBC7-D6A769E45964}" type="presParOf" srcId="{9EDABE71-DE2A-4B40-B4C1-E90401549E13}" destId="{12639D4A-EB79-4235-9A0E-911233D4F159}" srcOrd="0" destOrd="0" presId="urn:microsoft.com/office/officeart/2005/8/layout/orgChart1"/>
    <dgm:cxn modelId="{B655D449-A983-4A3E-B2AC-69CE01982FF6}" type="presParOf" srcId="{12639D4A-EB79-4235-9A0E-911233D4F159}" destId="{36B92954-C473-47DA-8B66-AEA32BC51659}" srcOrd="0" destOrd="0" presId="urn:microsoft.com/office/officeart/2005/8/layout/orgChart1"/>
    <dgm:cxn modelId="{1DEE27E2-727F-418D-B043-072F9AA76BA7}" type="presParOf" srcId="{12639D4A-EB79-4235-9A0E-911233D4F159}" destId="{4D8B56CB-5455-4DA6-BE7F-0BD17F05D5BE}" srcOrd="1" destOrd="0" presId="urn:microsoft.com/office/officeart/2005/8/layout/orgChart1"/>
    <dgm:cxn modelId="{CAFE87B7-5EC9-4252-841F-9DFE99A5BB6E}" type="presParOf" srcId="{9EDABE71-DE2A-4B40-B4C1-E90401549E13}" destId="{CEF3D426-872E-42F1-97EC-AC09ED2909F6}" srcOrd="1" destOrd="0" presId="urn:microsoft.com/office/officeart/2005/8/layout/orgChart1"/>
    <dgm:cxn modelId="{4F99A2CF-3DFF-4B7D-8156-3E5949948D2C}" type="presParOf" srcId="{CEF3D426-872E-42F1-97EC-AC09ED2909F6}" destId="{CCAC932B-E7A5-41CA-9075-A5814B1160C2}" srcOrd="0" destOrd="0" presId="urn:microsoft.com/office/officeart/2005/8/layout/orgChart1"/>
    <dgm:cxn modelId="{EBAB1C48-6E47-4C6B-AB26-BF704436FF28}" type="presParOf" srcId="{CEF3D426-872E-42F1-97EC-AC09ED2909F6}" destId="{4FD19D22-5740-4749-AA2B-74C68CEA1131}" srcOrd="1" destOrd="0" presId="urn:microsoft.com/office/officeart/2005/8/layout/orgChart1"/>
    <dgm:cxn modelId="{CB0BF5E1-D968-4857-82BC-192191BD4CEB}" type="presParOf" srcId="{4FD19D22-5740-4749-AA2B-74C68CEA1131}" destId="{EC997B80-5AA1-44B1-8A17-666C5155CAC2}" srcOrd="0" destOrd="0" presId="urn:microsoft.com/office/officeart/2005/8/layout/orgChart1"/>
    <dgm:cxn modelId="{A6E83918-F008-4AA8-A42F-9F351E8F4CF9}" type="presParOf" srcId="{EC997B80-5AA1-44B1-8A17-666C5155CAC2}" destId="{B992F0E6-47BD-4087-9AC8-71B854DEDA01}" srcOrd="0" destOrd="0" presId="urn:microsoft.com/office/officeart/2005/8/layout/orgChart1"/>
    <dgm:cxn modelId="{FFA9C6B2-659C-4863-B0E9-D6DDE196DDB3}" type="presParOf" srcId="{EC997B80-5AA1-44B1-8A17-666C5155CAC2}" destId="{74BC35B5-9509-4BF7-B15C-ACCB29910F39}" srcOrd="1" destOrd="0" presId="urn:microsoft.com/office/officeart/2005/8/layout/orgChart1"/>
    <dgm:cxn modelId="{7A701606-370D-4985-A05B-A3411744EF2B}" type="presParOf" srcId="{4FD19D22-5740-4749-AA2B-74C68CEA1131}" destId="{420524E9-1E1C-4DB1-BB6C-0B97B59177DC}" srcOrd="1" destOrd="0" presId="urn:microsoft.com/office/officeart/2005/8/layout/orgChart1"/>
    <dgm:cxn modelId="{871A05A9-1E0A-49C2-89C1-D3D64010C626}" type="presParOf" srcId="{4FD19D22-5740-4749-AA2B-74C68CEA1131}" destId="{7847077E-50B3-4506-9D5E-AF94C9840CED}" srcOrd="2" destOrd="0" presId="urn:microsoft.com/office/officeart/2005/8/layout/orgChart1"/>
    <dgm:cxn modelId="{0E94E867-45C3-436B-A93F-BF3B057DF94D}" type="presParOf" srcId="{CEF3D426-872E-42F1-97EC-AC09ED2909F6}" destId="{D6AFCAA8-1D71-4841-BD45-2563174BDE09}" srcOrd="2" destOrd="0" presId="urn:microsoft.com/office/officeart/2005/8/layout/orgChart1"/>
    <dgm:cxn modelId="{C5D685EE-A451-49DA-8436-98B617AA79EF}" type="presParOf" srcId="{CEF3D426-872E-42F1-97EC-AC09ED2909F6}" destId="{F0D3981B-3DAF-407B-B9AD-1D56C5B4F30D}" srcOrd="3" destOrd="0" presId="urn:microsoft.com/office/officeart/2005/8/layout/orgChart1"/>
    <dgm:cxn modelId="{943AD39C-5C22-41B6-8B2F-23F26EA90BF9}" type="presParOf" srcId="{F0D3981B-3DAF-407B-B9AD-1D56C5B4F30D}" destId="{A3058AB9-8979-4D69-9971-B1526301CEDA}" srcOrd="0" destOrd="0" presId="urn:microsoft.com/office/officeart/2005/8/layout/orgChart1"/>
    <dgm:cxn modelId="{71C516A3-AE7B-422E-AF94-B88CFCB9D9E3}" type="presParOf" srcId="{A3058AB9-8979-4D69-9971-B1526301CEDA}" destId="{643C26F7-24E2-4CBC-B523-24E13F0E3FCB}" srcOrd="0" destOrd="0" presId="urn:microsoft.com/office/officeart/2005/8/layout/orgChart1"/>
    <dgm:cxn modelId="{FC5FB49A-BA01-4947-83C6-5071933329AD}" type="presParOf" srcId="{A3058AB9-8979-4D69-9971-B1526301CEDA}" destId="{9117774F-1113-4C66-B61B-D47019DE7CE8}" srcOrd="1" destOrd="0" presId="urn:microsoft.com/office/officeart/2005/8/layout/orgChart1"/>
    <dgm:cxn modelId="{FD424907-7ED6-477E-9B53-406CE9015097}" type="presParOf" srcId="{F0D3981B-3DAF-407B-B9AD-1D56C5B4F30D}" destId="{1ED0FEF0-BF90-44CE-926A-874E3DF64042}" srcOrd="1" destOrd="0" presId="urn:microsoft.com/office/officeart/2005/8/layout/orgChart1"/>
    <dgm:cxn modelId="{723CC30F-4F1E-4B4D-9719-267C85ABF48A}" type="presParOf" srcId="{F0D3981B-3DAF-407B-B9AD-1D56C5B4F30D}" destId="{AFB65C06-4D52-44A7-A1EF-0932E08B5620}" srcOrd="2" destOrd="0" presId="urn:microsoft.com/office/officeart/2005/8/layout/orgChart1"/>
    <dgm:cxn modelId="{9E8116DD-B435-4E34-90FA-916375F4D3EA}" type="presParOf" srcId="{CEF3D426-872E-42F1-97EC-AC09ED2909F6}" destId="{636CC386-11BF-442B-A40D-52530E9B10C3}" srcOrd="4" destOrd="0" presId="urn:microsoft.com/office/officeart/2005/8/layout/orgChart1"/>
    <dgm:cxn modelId="{CB95E40C-24EA-4A4B-8549-4C102B8E354D}" type="presParOf" srcId="{CEF3D426-872E-42F1-97EC-AC09ED2909F6}" destId="{538822FC-1496-4493-85C0-78CDA2F5FED0}" srcOrd="5" destOrd="0" presId="urn:microsoft.com/office/officeart/2005/8/layout/orgChart1"/>
    <dgm:cxn modelId="{1AC98EA3-AF67-49C3-B276-35CA8B1A9696}" type="presParOf" srcId="{538822FC-1496-4493-85C0-78CDA2F5FED0}" destId="{A29BE4A7-1689-49BE-8F9D-BFCCEC386C8E}" srcOrd="0" destOrd="0" presId="urn:microsoft.com/office/officeart/2005/8/layout/orgChart1"/>
    <dgm:cxn modelId="{E469E31A-1DFE-4579-8BBF-11B755166528}" type="presParOf" srcId="{A29BE4A7-1689-49BE-8F9D-BFCCEC386C8E}" destId="{EA3F6E2F-64B8-4C98-AE0E-4323884D8078}" srcOrd="0" destOrd="0" presId="urn:microsoft.com/office/officeart/2005/8/layout/orgChart1"/>
    <dgm:cxn modelId="{9C239D49-535B-4449-A3F5-16F7FBBC666B}" type="presParOf" srcId="{A29BE4A7-1689-49BE-8F9D-BFCCEC386C8E}" destId="{FD30986B-2263-4AA0-81AF-22F706EB5056}" srcOrd="1" destOrd="0" presId="urn:microsoft.com/office/officeart/2005/8/layout/orgChart1"/>
    <dgm:cxn modelId="{6917712E-7F49-4488-B5EF-ED774F2BE15C}" type="presParOf" srcId="{538822FC-1496-4493-85C0-78CDA2F5FED0}" destId="{28B3738D-641D-4D5A-B650-706036334381}" srcOrd="1" destOrd="0" presId="urn:microsoft.com/office/officeart/2005/8/layout/orgChart1"/>
    <dgm:cxn modelId="{D41F800A-50F0-4DB2-AB8A-8ACC548E2534}" type="presParOf" srcId="{538822FC-1496-4493-85C0-78CDA2F5FED0}" destId="{81104000-EAA2-4727-A066-9568D99F0D93}" srcOrd="2" destOrd="0" presId="urn:microsoft.com/office/officeart/2005/8/layout/orgChart1"/>
    <dgm:cxn modelId="{4838C000-E31A-49CE-900F-5080EE9BD2A4}" type="presParOf" srcId="{9EDABE71-DE2A-4B40-B4C1-E90401549E13}" destId="{D2E11DF4-BFB3-4D36-8C74-E351C654EDA5}" srcOrd="2" destOrd="0" presId="urn:microsoft.com/office/officeart/2005/8/layout/orgChart1"/>
    <dgm:cxn modelId="{F9996800-0DAF-4348-9E2E-5629E03FF28E}" type="presParOf" srcId="{4DE44CB9-D8EE-40A4-812A-F0F70C16AC63}" destId="{BEAD6674-2F51-4D97-B9CE-C5EF927D759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747A600-5060-496A-AE91-72614BFF5645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883CF5BD-4429-43B6-AB24-8CEFE7C2414D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de-DE" sz="1400" b="1" dirty="0"/>
            <a:t>Initialisierung/Update der Gewichte</a:t>
          </a:r>
        </a:p>
      </dgm:t>
    </dgm:pt>
    <dgm:pt modelId="{892C9F61-4A4A-46FB-83D2-2AFC3CEC7186}" type="parTrans" cxnId="{9D7B2BDF-597E-45B9-8876-23C97EEEB454}">
      <dgm:prSet/>
      <dgm:spPr/>
      <dgm:t>
        <a:bodyPr/>
        <a:lstStyle/>
        <a:p>
          <a:endParaRPr lang="de-DE" sz="1400"/>
        </a:p>
      </dgm:t>
    </dgm:pt>
    <dgm:pt modelId="{7457E4F3-B8E3-49D8-9EA2-3BF125C396AC}" type="sibTrans" cxnId="{9D7B2BDF-597E-45B9-8876-23C97EEEB454}">
      <dgm:prSet custT="1"/>
      <dgm:spPr/>
      <dgm:t>
        <a:bodyPr/>
        <a:lstStyle/>
        <a:p>
          <a:endParaRPr lang="de-DE" sz="1400"/>
        </a:p>
      </dgm:t>
    </dgm:pt>
    <dgm:pt modelId="{7E0F43B8-0134-47CE-8C01-DCD84D76861E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pPr algn="ctr"/>
          <a:r>
            <a:rPr lang="de-DE" sz="1400" b="1" dirty="0"/>
            <a:t>Berechnung:</a:t>
          </a:r>
          <a:br>
            <a:rPr lang="de-DE" sz="1400" b="1" dirty="0"/>
          </a:br>
          <a:r>
            <a:rPr lang="de-DE" sz="1400" b="1" dirty="0"/>
            <a:t>-  </a:t>
          </a:r>
          <a:r>
            <a:rPr lang="de-DE" sz="1400" b="0" dirty="0"/>
            <a:t>Nettoeingabe </a:t>
          </a:r>
          <a:br>
            <a:rPr lang="de-DE" sz="1400" b="0" dirty="0"/>
          </a:br>
          <a:r>
            <a:rPr lang="de-DE" sz="1400" b="0" dirty="0"/>
            <a:t>-  Aktivierung            </a:t>
          </a:r>
          <a:br>
            <a:rPr lang="de-DE" sz="1400" b="0" dirty="0"/>
          </a:br>
          <a:r>
            <a:rPr lang="de-DE" sz="1400" b="0" dirty="0"/>
            <a:t>- Verlustfunktion</a:t>
          </a:r>
        </a:p>
      </dgm:t>
    </dgm:pt>
    <dgm:pt modelId="{3F669C43-7EA4-4D2A-9B88-9495A060F9DF}" type="parTrans" cxnId="{D2A067B6-116C-4F10-BB77-29F2B69404DB}">
      <dgm:prSet/>
      <dgm:spPr/>
      <dgm:t>
        <a:bodyPr/>
        <a:lstStyle/>
        <a:p>
          <a:endParaRPr lang="de-DE" sz="1400"/>
        </a:p>
      </dgm:t>
    </dgm:pt>
    <dgm:pt modelId="{FC6F6614-F4AD-4059-9314-BF97F0B95760}" type="sibTrans" cxnId="{D2A067B6-116C-4F10-BB77-29F2B69404DB}">
      <dgm:prSet custT="1"/>
      <dgm:spPr/>
      <dgm:t>
        <a:bodyPr/>
        <a:lstStyle/>
        <a:p>
          <a:endParaRPr lang="de-DE" sz="1400"/>
        </a:p>
      </dgm:t>
    </dgm:pt>
    <dgm:pt modelId="{CE21020E-AD37-4170-A609-761CF87DFA13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de-DE" sz="1400" b="1" dirty="0"/>
            <a:t>Berechnung Veränderung Gewichte</a:t>
          </a:r>
          <a:br>
            <a:rPr lang="de-DE" sz="1400" b="1" dirty="0"/>
          </a:br>
          <a:r>
            <a:rPr lang="de-DE" sz="1400" b="0" dirty="0"/>
            <a:t>- Gradient Verlustfunktion </a:t>
          </a:r>
          <a:br>
            <a:rPr lang="de-DE" sz="1400" b="0" dirty="0"/>
          </a:br>
          <a:r>
            <a:rPr lang="de-DE" sz="1400" b="0" dirty="0"/>
            <a:t>- Veränderung der Gewichte (</a:t>
          </a:r>
          <a:r>
            <a:rPr lang="de-DE" sz="1400" b="1" dirty="0">
              <a:sym typeface="Symbol" panose="05050102010706020507" pitchFamily="18" charset="2"/>
            </a:rPr>
            <a:t></a:t>
          </a:r>
          <a:r>
            <a:rPr lang="de-DE" sz="1400" b="1" dirty="0"/>
            <a:t>w</a:t>
          </a:r>
          <a:r>
            <a:rPr lang="de-DE" sz="1400" b="0" dirty="0"/>
            <a:t>)</a:t>
          </a:r>
        </a:p>
      </dgm:t>
    </dgm:pt>
    <dgm:pt modelId="{32D1B8A4-1957-46DC-87BB-6F78CEDEF4CC}" type="parTrans" cxnId="{979F1401-FCB0-46F4-8EEF-E0D259470FC1}">
      <dgm:prSet/>
      <dgm:spPr/>
      <dgm:t>
        <a:bodyPr/>
        <a:lstStyle/>
        <a:p>
          <a:endParaRPr lang="de-DE" sz="1400"/>
        </a:p>
      </dgm:t>
    </dgm:pt>
    <dgm:pt modelId="{5C7563D1-28DA-4A35-9913-B43F717444C5}" type="sibTrans" cxnId="{979F1401-FCB0-46F4-8EEF-E0D259470FC1}">
      <dgm:prSet/>
      <dgm:spPr/>
      <dgm:t>
        <a:bodyPr/>
        <a:lstStyle/>
        <a:p>
          <a:endParaRPr lang="de-DE" sz="1400"/>
        </a:p>
      </dgm:t>
    </dgm:pt>
    <dgm:pt modelId="{386E5027-CF29-4E0B-AE1C-2FCB9A991296}" type="pres">
      <dgm:prSet presAssocID="{4747A600-5060-496A-AE91-72614BFF5645}" presName="linearFlow" presStyleCnt="0">
        <dgm:presLayoutVars>
          <dgm:resizeHandles val="exact"/>
        </dgm:presLayoutVars>
      </dgm:prSet>
      <dgm:spPr/>
    </dgm:pt>
    <dgm:pt modelId="{2A0E6022-5193-42F5-B4DB-67BCC526D45C}" type="pres">
      <dgm:prSet presAssocID="{883CF5BD-4429-43B6-AB24-8CEFE7C2414D}" presName="node" presStyleLbl="node1" presStyleIdx="0" presStyleCnt="3">
        <dgm:presLayoutVars>
          <dgm:bulletEnabled val="1"/>
        </dgm:presLayoutVars>
      </dgm:prSet>
      <dgm:spPr/>
    </dgm:pt>
    <dgm:pt modelId="{04FC0376-0314-43F7-9647-DD2227E74296}" type="pres">
      <dgm:prSet presAssocID="{7457E4F3-B8E3-49D8-9EA2-3BF125C396AC}" presName="sibTrans" presStyleLbl="sibTrans2D1" presStyleIdx="0" presStyleCnt="2"/>
      <dgm:spPr/>
    </dgm:pt>
    <dgm:pt modelId="{609BE007-7997-4E1F-8AA0-A6F6BAC00A75}" type="pres">
      <dgm:prSet presAssocID="{7457E4F3-B8E3-49D8-9EA2-3BF125C396AC}" presName="connectorText" presStyleLbl="sibTrans2D1" presStyleIdx="0" presStyleCnt="2"/>
      <dgm:spPr/>
    </dgm:pt>
    <dgm:pt modelId="{A2815D6E-6434-4482-B718-DD747395DE69}" type="pres">
      <dgm:prSet presAssocID="{7E0F43B8-0134-47CE-8C01-DCD84D76861E}" presName="node" presStyleLbl="node1" presStyleIdx="1" presStyleCnt="3">
        <dgm:presLayoutVars>
          <dgm:bulletEnabled val="1"/>
        </dgm:presLayoutVars>
      </dgm:prSet>
      <dgm:spPr/>
    </dgm:pt>
    <dgm:pt modelId="{A50ED758-8308-41C6-98C1-C77FE67F7A65}" type="pres">
      <dgm:prSet presAssocID="{FC6F6614-F4AD-4059-9314-BF97F0B95760}" presName="sibTrans" presStyleLbl="sibTrans2D1" presStyleIdx="1" presStyleCnt="2"/>
      <dgm:spPr/>
    </dgm:pt>
    <dgm:pt modelId="{BFAF550B-5558-41C9-9770-B17B4524A8D9}" type="pres">
      <dgm:prSet presAssocID="{FC6F6614-F4AD-4059-9314-BF97F0B95760}" presName="connectorText" presStyleLbl="sibTrans2D1" presStyleIdx="1" presStyleCnt="2"/>
      <dgm:spPr/>
    </dgm:pt>
    <dgm:pt modelId="{55EBE0FF-BF74-4544-B499-F92FF21B9195}" type="pres">
      <dgm:prSet presAssocID="{CE21020E-AD37-4170-A609-761CF87DFA13}" presName="node" presStyleLbl="node1" presStyleIdx="2" presStyleCnt="3">
        <dgm:presLayoutVars>
          <dgm:bulletEnabled val="1"/>
        </dgm:presLayoutVars>
      </dgm:prSet>
      <dgm:spPr/>
    </dgm:pt>
  </dgm:ptLst>
  <dgm:cxnLst>
    <dgm:cxn modelId="{979F1401-FCB0-46F4-8EEF-E0D259470FC1}" srcId="{4747A600-5060-496A-AE91-72614BFF5645}" destId="{CE21020E-AD37-4170-A609-761CF87DFA13}" srcOrd="2" destOrd="0" parTransId="{32D1B8A4-1957-46DC-87BB-6F78CEDEF4CC}" sibTransId="{5C7563D1-28DA-4A35-9913-B43F717444C5}"/>
    <dgm:cxn modelId="{186A632F-DBFE-474F-98E7-580C228A8E96}" type="presOf" srcId="{7457E4F3-B8E3-49D8-9EA2-3BF125C396AC}" destId="{609BE007-7997-4E1F-8AA0-A6F6BAC00A75}" srcOrd="1" destOrd="0" presId="urn:microsoft.com/office/officeart/2005/8/layout/process2"/>
    <dgm:cxn modelId="{52052C64-6A65-4737-92C2-43582697E6A9}" type="presOf" srcId="{7457E4F3-B8E3-49D8-9EA2-3BF125C396AC}" destId="{04FC0376-0314-43F7-9647-DD2227E74296}" srcOrd="0" destOrd="0" presId="urn:microsoft.com/office/officeart/2005/8/layout/process2"/>
    <dgm:cxn modelId="{53DA3453-014E-4CB4-9BB3-360BE4E4E7FD}" type="presOf" srcId="{CE21020E-AD37-4170-A609-761CF87DFA13}" destId="{55EBE0FF-BF74-4544-B499-F92FF21B9195}" srcOrd="0" destOrd="0" presId="urn:microsoft.com/office/officeart/2005/8/layout/process2"/>
    <dgm:cxn modelId="{8B65E373-D8C6-4295-B595-3410488A146E}" type="presOf" srcId="{883CF5BD-4429-43B6-AB24-8CEFE7C2414D}" destId="{2A0E6022-5193-42F5-B4DB-67BCC526D45C}" srcOrd="0" destOrd="0" presId="urn:microsoft.com/office/officeart/2005/8/layout/process2"/>
    <dgm:cxn modelId="{BEFBCD54-6025-46AB-8032-7958B8900055}" type="presOf" srcId="{FC6F6614-F4AD-4059-9314-BF97F0B95760}" destId="{BFAF550B-5558-41C9-9770-B17B4524A8D9}" srcOrd="1" destOrd="0" presId="urn:microsoft.com/office/officeart/2005/8/layout/process2"/>
    <dgm:cxn modelId="{9ED10A84-48C6-4A34-B06F-0DF675C5F8A4}" type="presOf" srcId="{FC6F6614-F4AD-4059-9314-BF97F0B95760}" destId="{A50ED758-8308-41C6-98C1-C77FE67F7A65}" srcOrd="0" destOrd="0" presId="urn:microsoft.com/office/officeart/2005/8/layout/process2"/>
    <dgm:cxn modelId="{19419B85-67B1-4D11-857A-6A679B6252C4}" type="presOf" srcId="{7E0F43B8-0134-47CE-8C01-DCD84D76861E}" destId="{A2815D6E-6434-4482-B718-DD747395DE69}" srcOrd="0" destOrd="0" presId="urn:microsoft.com/office/officeart/2005/8/layout/process2"/>
    <dgm:cxn modelId="{F8DB658C-0793-43D4-B189-F39EA479F078}" type="presOf" srcId="{4747A600-5060-496A-AE91-72614BFF5645}" destId="{386E5027-CF29-4E0B-AE1C-2FCB9A991296}" srcOrd="0" destOrd="0" presId="urn:microsoft.com/office/officeart/2005/8/layout/process2"/>
    <dgm:cxn modelId="{D2A067B6-116C-4F10-BB77-29F2B69404DB}" srcId="{4747A600-5060-496A-AE91-72614BFF5645}" destId="{7E0F43B8-0134-47CE-8C01-DCD84D76861E}" srcOrd="1" destOrd="0" parTransId="{3F669C43-7EA4-4D2A-9B88-9495A060F9DF}" sibTransId="{FC6F6614-F4AD-4059-9314-BF97F0B95760}"/>
    <dgm:cxn modelId="{9D7B2BDF-597E-45B9-8876-23C97EEEB454}" srcId="{4747A600-5060-496A-AE91-72614BFF5645}" destId="{883CF5BD-4429-43B6-AB24-8CEFE7C2414D}" srcOrd="0" destOrd="0" parTransId="{892C9F61-4A4A-46FB-83D2-2AFC3CEC7186}" sibTransId="{7457E4F3-B8E3-49D8-9EA2-3BF125C396AC}"/>
    <dgm:cxn modelId="{E98097C8-BB35-4D9C-8B7C-5DA1A79FA47C}" type="presParOf" srcId="{386E5027-CF29-4E0B-AE1C-2FCB9A991296}" destId="{2A0E6022-5193-42F5-B4DB-67BCC526D45C}" srcOrd="0" destOrd="0" presId="urn:microsoft.com/office/officeart/2005/8/layout/process2"/>
    <dgm:cxn modelId="{D8A30C33-7C44-44D9-954B-BBB25A1EA91F}" type="presParOf" srcId="{386E5027-CF29-4E0B-AE1C-2FCB9A991296}" destId="{04FC0376-0314-43F7-9647-DD2227E74296}" srcOrd="1" destOrd="0" presId="urn:microsoft.com/office/officeart/2005/8/layout/process2"/>
    <dgm:cxn modelId="{98C63AE4-60E9-4E7E-8104-F3D1BFC4CDD5}" type="presParOf" srcId="{04FC0376-0314-43F7-9647-DD2227E74296}" destId="{609BE007-7997-4E1F-8AA0-A6F6BAC00A75}" srcOrd="0" destOrd="0" presId="urn:microsoft.com/office/officeart/2005/8/layout/process2"/>
    <dgm:cxn modelId="{2E010464-333E-48EB-BE89-E9B15B1219C3}" type="presParOf" srcId="{386E5027-CF29-4E0B-AE1C-2FCB9A991296}" destId="{A2815D6E-6434-4482-B718-DD747395DE69}" srcOrd="2" destOrd="0" presId="urn:microsoft.com/office/officeart/2005/8/layout/process2"/>
    <dgm:cxn modelId="{8253AACD-1FB6-4998-8405-1981214A7FEC}" type="presParOf" srcId="{386E5027-CF29-4E0B-AE1C-2FCB9A991296}" destId="{A50ED758-8308-41C6-98C1-C77FE67F7A65}" srcOrd="3" destOrd="0" presId="urn:microsoft.com/office/officeart/2005/8/layout/process2"/>
    <dgm:cxn modelId="{35C5F6FF-9ACD-4395-8604-3F4CBB0BF7AB}" type="presParOf" srcId="{A50ED758-8308-41C6-98C1-C77FE67F7A65}" destId="{BFAF550B-5558-41C9-9770-B17B4524A8D9}" srcOrd="0" destOrd="0" presId="urn:microsoft.com/office/officeart/2005/8/layout/process2"/>
    <dgm:cxn modelId="{6A0A498C-0B0C-4EA0-959E-F4F15241DEF6}" type="presParOf" srcId="{386E5027-CF29-4E0B-AE1C-2FCB9A991296}" destId="{55EBE0FF-BF74-4544-B499-F92FF21B9195}" srcOrd="4" destOrd="0" presId="urn:microsoft.com/office/officeart/2005/8/layout/process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BCC0896-1EEE-431B-A178-2352691A0E59}" type="doc">
      <dgm:prSet loTypeId="urn:microsoft.com/office/officeart/2005/8/layout/cycle3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90396DCE-B3EC-4F28-85A2-5BE9AA83BAB6}">
      <dgm:prSet phldrT="[Text]" custT="1"/>
      <dgm:spPr/>
      <dgm:t>
        <a:bodyPr/>
        <a:lstStyle/>
        <a:p>
          <a:r>
            <a:rPr lang="de-DE" sz="1400" b="1" dirty="0">
              <a:latin typeface="Arial" panose="020B0604020202020204" pitchFamily="34" charset="0"/>
              <a:cs typeface="Arial" panose="020B0604020202020204" pitchFamily="34" charset="0"/>
            </a:rPr>
            <a:t>Zufälliges Ziehung eines neuen Batch</a:t>
          </a:r>
        </a:p>
      </dgm:t>
    </dgm:pt>
    <dgm:pt modelId="{BB4F41C6-3AAC-47EA-BDF4-356038E1CD4F}" type="parTrans" cxnId="{3E4370EA-9081-48BB-8600-9D71EA2277E3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4F5FF03-2D9F-4D98-B1E5-AF851193C317}" type="sibTrans" cxnId="{3E4370EA-9081-48BB-8600-9D71EA2277E3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785BDD6-1EB1-44D9-A92B-D36C55D5811F}">
      <dgm:prSet phldrT="[Text]" custT="1"/>
      <dgm:spPr/>
      <dgm:t>
        <a:bodyPr/>
        <a:lstStyle/>
        <a:p>
          <a:r>
            <a:rPr lang="de-DE" sz="1400" b="1" dirty="0">
              <a:latin typeface="Arial" panose="020B0604020202020204" pitchFamily="34" charset="0"/>
              <a:cs typeface="Arial" panose="020B0604020202020204" pitchFamily="34" charset="0"/>
            </a:rPr>
            <a:t>Berechnung der Ableitung</a:t>
          </a:r>
        </a:p>
      </dgm:t>
    </dgm:pt>
    <dgm:pt modelId="{DD630D29-0FDF-4C3F-8A05-9659C17A7973}" type="parTrans" cxnId="{107B2235-92CE-4D8D-A14E-09E389A9BA95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FB0A7B-2F58-411D-BD1D-D07D3B12CF9F}" type="sibTrans" cxnId="{107B2235-92CE-4D8D-A14E-09E389A9BA95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699969-C262-4F20-A66B-2482EB629CF9}">
      <dgm:prSet phldrT="[Text]" custT="1"/>
      <dgm:spPr/>
      <dgm:t>
        <a:bodyPr/>
        <a:lstStyle/>
        <a:p>
          <a:r>
            <a:rPr lang="de-DE" sz="1400" b="1" dirty="0">
              <a:latin typeface="Arial" panose="020B0604020202020204" pitchFamily="34" charset="0"/>
              <a:cs typeface="Arial" panose="020B0604020202020204" pitchFamily="34" charset="0"/>
            </a:rPr>
            <a:t>Update der Gewichte</a:t>
          </a:r>
        </a:p>
      </dgm:t>
    </dgm:pt>
    <dgm:pt modelId="{95235224-08CE-48B6-B4C2-79E4DB8BD31D}" type="parTrans" cxnId="{82B8F820-1A96-4BBD-BD7F-2BF39948B255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BC41E8-F5CC-4CD3-90C9-BB05ACF1BF2E}" type="sibTrans" cxnId="{82B8F820-1A96-4BBD-BD7F-2BF39948B255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521B80D-7E42-4EFB-9727-1A15FE6AC212}">
      <dgm:prSet phldrT="[Text]" custT="1"/>
      <dgm:spPr/>
      <dgm:t>
        <a:bodyPr/>
        <a:lstStyle/>
        <a:p>
          <a:r>
            <a:rPr lang="de-DE" sz="1400" b="1" dirty="0">
              <a:latin typeface="Arial" panose="020B0604020202020204" pitchFamily="34" charset="0"/>
              <a:cs typeface="Arial" panose="020B0604020202020204" pitchFamily="34" charset="0"/>
            </a:rPr>
            <a:t>Update Aktivierungen</a:t>
          </a:r>
        </a:p>
      </dgm:t>
    </dgm:pt>
    <dgm:pt modelId="{4992034C-3169-40A6-BFBF-91DE71D7DA83}" type="parTrans" cxnId="{D828B0D6-B038-4027-B7E4-51CD999792CA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02F5A61-925D-4A8F-BB1C-930AC1164BA9}" type="sibTrans" cxnId="{D828B0D6-B038-4027-B7E4-51CD999792CA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77B1FEF-BA92-4BAF-A810-941FDE690E3F}">
      <dgm:prSet phldrT="[Text]" custT="1"/>
      <dgm:spPr/>
      <dgm:t>
        <a:bodyPr/>
        <a:lstStyle/>
        <a:p>
          <a:r>
            <a:rPr lang="de-DE" sz="1400" b="1" dirty="0">
              <a:latin typeface="Arial" panose="020B0604020202020204" pitchFamily="34" charset="0"/>
              <a:cs typeface="Arial" panose="020B0604020202020204" pitchFamily="34" charset="0"/>
            </a:rPr>
            <a:t>Update Verlustfunktion</a:t>
          </a:r>
        </a:p>
      </dgm:t>
    </dgm:pt>
    <dgm:pt modelId="{F62C11D7-5E4F-4A50-A1B7-3498DC595DDB}" type="parTrans" cxnId="{6BFA3677-DCAD-41C7-838E-042A24C38946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FAF1309-8D2E-4AF4-9710-CADAEF906BC9}" type="sibTrans" cxnId="{6BFA3677-DCAD-41C7-838E-042A24C38946}">
      <dgm:prSet/>
      <dgm:spPr/>
      <dgm:t>
        <a:bodyPr/>
        <a:lstStyle/>
        <a:p>
          <a:endParaRPr lang="de-DE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08BC6A-E0C5-4D69-9FEC-988E0810CD5C}" type="pres">
      <dgm:prSet presAssocID="{EBCC0896-1EEE-431B-A178-2352691A0E59}" presName="Name0" presStyleCnt="0">
        <dgm:presLayoutVars>
          <dgm:dir/>
          <dgm:resizeHandles val="exact"/>
        </dgm:presLayoutVars>
      </dgm:prSet>
      <dgm:spPr/>
    </dgm:pt>
    <dgm:pt modelId="{0FAABCEF-ED48-4712-B5CA-5BA362CBDEAA}" type="pres">
      <dgm:prSet presAssocID="{EBCC0896-1EEE-431B-A178-2352691A0E59}" presName="cycle" presStyleCnt="0"/>
      <dgm:spPr/>
    </dgm:pt>
    <dgm:pt modelId="{EBB5EA20-C496-4D1A-B1E1-1A38AF160EBB}" type="pres">
      <dgm:prSet presAssocID="{90396DCE-B3EC-4F28-85A2-5BE9AA83BAB6}" presName="nodeFirstNode" presStyleLbl="node1" presStyleIdx="0" presStyleCnt="5">
        <dgm:presLayoutVars>
          <dgm:bulletEnabled val="1"/>
        </dgm:presLayoutVars>
      </dgm:prSet>
      <dgm:spPr/>
    </dgm:pt>
    <dgm:pt modelId="{7CD7D2D5-2678-4942-9142-BD2E93E76A63}" type="pres">
      <dgm:prSet presAssocID="{C4F5FF03-2D9F-4D98-B1E5-AF851193C317}" presName="sibTransFirstNode" presStyleLbl="bgShp" presStyleIdx="0" presStyleCnt="1"/>
      <dgm:spPr/>
    </dgm:pt>
    <dgm:pt modelId="{42F39F55-F769-47E0-B116-4DBAB9DBE5E1}" type="pres">
      <dgm:prSet presAssocID="{D785BDD6-1EB1-44D9-A92B-D36C55D5811F}" presName="nodeFollowingNodes" presStyleLbl="node1" presStyleIdx="1" presStyleCnt="5">
        <dgm:presLayoutVars>
          <dgm:bulletEnabled val="1"/>
        </dgm:presLayoutVars>
      </dgm:prSet>
      <dgm:spPr/>
    </dgm:pt>
    <dgm:pt modelId="{F3F1ECFE-3577-4558-AE9D-0C612C4B1845}" type="pres">
      <dgm:prSet presAssocID="{A9699969-C262-4F20-A66B-2482EB629CF9}" presName="nodeFollowingNodes" presStyleLbl="node1" presStyleIdx="2" presStyleCnt="5">
        <dgm:presLayoutVars>
          <dgm:bulletEnabled val="1"/>
        </dgm:presLayoutVars>
      </dgm:prSet>
      <dgm:spPr/>
    </dgm:pt>
    <dgm:pt modelId="{1D2873C4-D46B-4C99-BBFF-3135BF47534B}" type="pres">
      <dgm:prSet presAssocID="{8521B80D-7E42-4EFB-9727-1A15FE6AC212}" presName="nodeFollowingNodes" presStyleLbl="node1" presStyleIdx="3" presStyleCnt="5">
        <dgm:presLayoutVars>
          <dgm:bulletEnabled val="1"/>
        </dgm:presLayoutVars>
      </dgm:prSet>
      <dgm:spPr/>
    </dgm:pt>
    <dgm:pt modelId="{AF80792A-C536-453A-B37F-7297E8CA5D91}" type="pres">
      <dgm:prSet presAssocID="{277B1FEF-BA92-4BAF-A810-941FDE690E3F}" presName="nodeFollowingNodes" presStyleLbl="node1" presStyleIdx="4" presStyleCnt="5">
        <dgm:presLayoutVars>
          <dgm:bulletEnabled val="1"/>
        </dgm:presLayoutVars>
      </dgm:prSet>
      <dgm:spPr/>
    </dgm:pt>
  </dgm:ptLst>
  <dgm:cxnLst>
    <dgm:cxn modelId="{4420D400-FEE7-4919-B934-663612409937}" type="presOf" srcId="{D785BDD6-1EB1-44D9-A92B-D36C55D5811F}" destId="{42F39F55-F769-47E0-B116-4DBAB9DBE5E1}" srcOrd="0" destOrd="0" presId="urn:microsoft.com/office/officeart/2005/8/layout/cycle3"/>
    <dgm:cxn modelId="{82B8F820-1A96-4BBD-BD7F-2BF39948B255}" srcId="{EBCC0896-1EEE-431B-A178-2352691A0E59}" destId="{A9699969-C262-4F20-A66B-2482EB629CF9}" srcOrd="2" destOrd="0" parTransId="{95235224-08CE-48B6-B4C2-79E4DB8BD31D}" sibTransId="{4DBC41E8-F5CC-4CD3-90C9-BB05ACF1BF2E}"/>
    <dgm:cxn modelId="{107B2235-92CE-4D8D-A14E-09E389A9BA95}" srcId="{EBCC0896-1EEE-431B-A178-2352691A0E59}" destId="{D785BDD6-1EB1-44D9-A92B-D36C55D5811F}" srcOrd="1" destOrd="0" parTransId="{DD630D29-0FDF-4C3F-8A05-9659C17A7973}" sibTransId="{3CFB0A7B-2F58-411D-BD1D-D07D3B12CF9F}"/>
    <dgm:cxn modelId="{6BFA3677-DCAD-41C7-838E-042A24C38946}" srcId="{EBCC0896-1EEE-431B-A178-2352691A0E59}" destId="{277B1FEF-BA92-4BAF-A810-941FDE690E3F}" srcOrd="4" destOrd="0" parTransId="{F62C11D7-5E4F-4A50-A1B7-3498DC595DDB}" sibTransId="{BFAF1309-8D2E-4AF4-9710-CADAEF906BC9}"/>
    <dgm:cxn modelId="{7388CB7D-B229-4633-83AD-6A3CF4FFE59B}" type="presOf" srcId="{EBCC0896-1EEE-431B-A178-2352691A0E59}" destId="{A908BC6A-E0C5-4D69-9FEC-988E0810CD5C}" srcOrd="0" destOrd="0" presId="urn:microsoft.com/office/officeart/2005/8/layout/cycle3"/>
    <dgm:cxn modelId="{EF33EE7E-1C36-47FA-B3C5-5A129B5909D8}" type="presOf" srcId="{A9699969-C262-4F20-A66B-2482EB629CF9}" destId="{F3F1ECFE-3577-4558-AE9D-0C612C4B1845}" srcOrd="0" destOrd="0" presId="urn:microsoft.com/office/officeart/2005/8/layout/cycle3"/>
    <dgm:cxn modelId="{A4AE138B-0E84-475D-9628-58EDD2957EE7}" type="presOf" srcId="{90396DCE-B3EC-4F28-85A2-5BE9AA83BAB6}" destId="{EBB5EA20-C496-4D1A-B1E1-1A38AF160EBB}" srcOrd="0" destOrd="0" presId="urn:microsoft.com/office/officeart/2005/8/layout/cycle3"/>
    <dgm:cxn modelId="{135BAAB1-8AAF-4678-BEEB-75CC85D7694A}" type="presOf" srcId="{C4F5FF03-2D9F-4D98-B1E5-AF851193C317}" destId="{7CD7D2D5-2678-4942-9142-BD2E93E76A63}" srcOrd="0" destOrd="0" presId="urn:microsoft.com/office/officeart/2005/8/layout/cycle3"/>
    <dgm:cxn modelId="{A542DFCE-79EA-4C81-9262-5405E093B914}" type="presOf" srcId="{8521B80D-7E42-4EFB-9727-1A15FE6AC212}" destId="{1D2873C4-D46B-4C99-BBFF-3135BF47534B}" srcOrd="0" destOrd="0" presId="urn:microsoft.com/office/officeart/2005/8/layout/cycle3"/>
    <dgm:cxn modelId="{D828B0D6-B038-4027-B7E4-51CD999792CA}" srcId="{EBCC0896-1EEE-431B-A178-2352691A0E59}" destId="{8521B80D-7E42-4EFB-9727-1A15FE6AC212}" srcOrd="3" destOrd="0" parTransId="{4992034C-3169-40A6-BFBF-91DE71D7DA83}" sibTransId="{002F5A61-925D-4A8F-BB1C-930AC1164BA9}"/>
    <dgm:cxn modelId="{3E4370EA-9081-48BB-8600-9D71EA2277E3}" srcId="{EBCC0896-1EEE-431B-A178-2352691A0E59}" destId="{90396DCE-B3EC-4F28-85A2-5BE9AA83BAB6}" srcOrd="0" destOrd="0" parTransId="{BB4F41C6-3AAC-47EA-BDF4-356038E1CD4F}" sibTransId="{C4F5FF03-2D9F-4D98-B1E5-AF851193C317}"/>
    <dgm:cxn modelId="{2DEE36FD-5760-4313-9071-3EAB5184B503}" type="presOf" srcId="{277B1FEF-BA92-4BAF-A810-941FDE690E3F}" destId="{AF80792A-C536-453A-B37F-7297E8CA5D91}" srcOrd="0" destOrd="0" presId="urn:microsoft.com/office/officeart/2005/8/layout/cycle3"/>
    <dgm:cxn modelId="{A7D35168-3EAE-4B37-974A-FC2D2E086C25}" type="presParOf" srcId="{A908BC6A-E0C5-4D69-9FEC-988E0810CD5C}" destId="{0FAABCEF-ED48-4712-B5CA-5BA362CBDEAA}" srcOrd="0" destOrd="0" presId="urn:microsoft.com/office/officeart/2005/8/layout/cycle3"/>
    <dgm:cxn modelId="{9F8925AD-7054-4B70-9380-6FDF2F832B66}" type="presParOf" srcId="{0FAABCEF-ED48-4712-B5CA-5BA362CBDEAA}" destId="{EBB5EA20-C496-4D1A-B1E1-1A38AF160EBB}" srcOrd="0" destOrd="0" presId="urn:microsoft.com/office/officeart/2005/8/layout/cycle3"/>
    <dgm:cxn modelId="{FA0488A0-8F57-4806-9C95-6C2384876B84}" type="presParOf" srcId="{0FAABCEF-ED48-4712-B5CA-5BA362CBDEAA}" destId="{7CD7D2D5-2678-4942-9142-BD2E93E76A63}" srcOrd="1" destOrd="0" presId="urn:microsoft.com/office/officeart/2005/8/layout/cycle3"/>
    <dgm:cxn modelId="{D539CB21-3CA3-48EF-94C9-53CC77D924E1}" type="presParOf" srcId="{0FAABCEF-ED48-4712-B5CA-5BA362CBDEAA}" destId="{42F39F55-F769-47E0-B116-4DBAB9DBE5E1}" srcOrd="2" destOrd="0" presId="urn:microsoft.com/office/officeart/2005/8/layout/cycle3"/>
    <dgm:cxn modelId="{3D1126AD-6849-4CDA-AF3D-4587B6091F23}" type="presParOf" srcId="{0FAABCEF-ED48-4712-B5CA-5BA362CBDEAA}" destId="{F3F1ECFE-3577-4558-AE9D-0C612C4B1845}" srcOrd="3" destOrd="0" presId="urn:microsoft.com/office/officeart/2005/8/layout/cycle3"/>
    <dgm:cxn modelId="{00224726-71C1-4E2B-A0A0-624A08D272CD}" type="presParOf" srcId="{0FAABCEF-ED48-4712-B5CA-5BA362CBDEAA}" destId="{1D2873C4-D46B-4C99-BBFF-3135BF47534B}" srcOrd="4" destOrd="0" presId="urn:microsoft.com/office/officeart/2005/8/layout/cycle3"/>
    <dgm:cxn modelId="{EC0B67E7-9DA4-4EDB-9C92-A75CEE033595}" type="presParOf" srcId="{0FAABCEF-ED48-4712-B5CA-5BA362CBDEAA}" destId="{AF80792A-C536-453A-B37F-7297E8CA5D91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ABBB57F-1732-4FA3-A876-8CB78B7C7083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82B203FF-C5C8-40CC-84F2-DEC2CD2276DF}">
      <dgm:prSet phldrT="[Text]" custT="1"/>
      <dgm:spPr/>
      <dgm:t>
        <a:bodyPr/>
        <a:lstStyle/>
        <a:p>
          <a:r>
            <a:rPr lang="de-DE" sz="1400" b="1" dirty="0"/>
            <a:t>Formulierung des Zusammenhangs</a:t>
          </a:r>
        </a:p>
      </dgm:t>
    </dgm:pt>
    <dgm:pt modelId="{787E06A3-FFE7-4AB2-A8E4-AB339300753A}" type="parTrans" cxnId="{31E9A9C8-BF9A-4388-B84F-4B882F30A9D8}">
      <dgm:prSet/>
      <dgm:spPr/>
      <dgm:t>
        <a:bodyPr/>
        <a:lstStyle/>
        <a:p>
          <a:endParaRPr lang="de-DE" sz="1400"/>
        </a:p>
      </dgm:t>
    </dgm:pt>
    <dgm:pt modelId="{6214A214-738C-4E41-AEC9-52578E356B70}" type="sibTrans" cxnId="{31E9A9C8-BF9A-4388-B84F-4B882F30A9D8}">
      <dgm:prSet/>
      <dgm:spPr/>
      <dgm:t>
        <a:bodyPr/>
        <a:lstStyle/>
        <a:p>
          <a:endParaRPr lang="de-DE" sz="1400"/>
        </a:p>
      </dgm:t>
    </dgm:pt>
    <dgm:pt modelId="{D5CEBF60-33A4-41FE-8B46-D24E77BA0543}">
      <dgm:prSet phldrT="[Text]" custT="1"/>
      <dgm:spPr/>
      <dgm:t>
        <a:bodyPr/>
        <a:lstStyle/>
        <a:p>
          <a:r>
            <a:rPr lang="de-DE" sz="1400" dirty="0"/>
            <a:t>Auswahl und </a:t>
          </a:r>
          <a:r>
            <a:rPr lang="de-DE" sz="1400" b="1" dirty="0"/>
            <a:t>Normierung</a:t>
          </a:r>
          <a:r>
            <a:rPr lang="de-DE" sz="1400" dirty="0"/>
            <a:t> Input- und </a:t>
          </a:r>
          <a:r>
            <a:rPr lang="de-DE" sz="1400" dirty="0" err="1"/>
            <a:t>Outputgrößen</a:t>
          </a:r>
          <a:endParaRPr lang="de-DE" sz="1400" dirty="0"/>
        </a:p>
      </dgm:t>
    </dgm:pt>
    <dgm:pt modelId="{A7DACED2-4D39-4496-A727-B86E371D7662}" type="parTrans" cxnId="{2D97FCD8-5F90-44F8-A6A4-65486C470621}">
      <dgm:prSet/>
      <dgm:spPr/>
      <dgm:t>
        <a:bodyPr/>
        <a:lstStyle/>
        <a:p>
          <a:endParaRPr lang="de-DE" sz="1400"/>
        </a:p>
      </dgm:t>
    </dgm:pt>
    <dgm:pt modelId="{B9F47839-0E49-40F6-925B-9C3CEF9B85D7}" type="sibTrans" cxnId="{2D97FCD8-5F90-44F8-A6A4-65486C470621}">
      <dgm:prSet/>
      <dgm:spPr/>
      <dgm:t>
        <a:bodyPr/>
        <a:lstStyle/>
        <a:p>
          <a:endParaRPr lang="de-DE" sz="1400"/>
        </a:p>
      </dgm:t>
    </dgm:pt>
    <dgm:pt modelId="{0E84909A-C494-4C20-93A1-8C98E8666A39}">
      <dgm:prSet phldrT="[Text]" custT="1"/>
      <dgm:spPr/>
      <dgm:t>
        <a:bodyPr/>
        <a:lstStyle/>
        <a:p>
          <a:r>
            <a:rPr lang="de-DE" sz="1400" b="1" dirty="0"/>
            <a:t>Vorbereitung der Daten</a:t>
          </a:r>
        </a:p>
      </dgm:t>
    </dgm:pt>
    <dgm:pt modelId="{71BF0461-DC0D-436B-8580-330EC939315A}" type="parTrans" cxnId="{32B9B3E8-2B33-474F-BB24-C4861D53E7EE}">
      <dgm:prSet/>
      <dgm:spPr/>
      <dgm:t>
        <a:bodyPr/>
        <a:lstStyle/>
        <a:p>
          <a:endParaRPr lang="de-DE" sz="1400"/>
        </a:p>
      </dgm:t>
    </dgm:pt>
    <dgm:pt modelId="{6D49113F-F609-4566-8016-69FAC31BAD68}" type="sibTrans" cxnId="{32B9B3E8-2B33-474F-BB24-C4861D53E7EE}">
      <dgm:prSet/>
      <dgm:spPr/>
      <dgm:t>
        <a:bodyPr/>
        <a:lstStyle/>
        <a:p>
          <a:endParaRPr lang="de-DE" sz="1400"/>
        </a:p>
      </dgm:t>
    </dgm:pt>
    <dgm:pt modelId="{F71ACEB4-4B5C-498A-911D-A9435AA10741}">
      <dgm:prSet phldrT="[Text]" custT="1"/>
      <dgm:spPr/>
      <dgm:t>
        <a:bodyPr/>
        <a:lstStyle/>
        <a:p>
          <a:r>
            <a:rPr lang="de-DE" sz="1400" dirty="0"/>
            <a:t>Trennung Trainings-, Validierungs-, und Testdaten</a:t>
          </a:r>
        </a:p>
      </dgm:t>
    </dgm:pt>
    <dgm:pt modelId="{A632CA68-8ED0-4F1B-A322-B63B54E50BAC}" type="parTrans" cxnId="{A04EFE56-B951-4BDF-BCCF-0320F95F94ED}">
      <dgm:prSet/>
      <dgm:spPr/>
      <dgm:t>
        <a:bodyPr/>
        <a:lstStyle/>
        <a:p>
          <a:endParaRPr lang="de-DE" sz="1400"/>
        </a:p>
      </dgm:t>
    </dgm:pt>
    <dgm:pt modelId="{4C38089B-5FD9-467D-87AB-F194BC6FCC37}" type="sibTrans" cxnId="{A04EFE56-B951-4BDF-BCCF-0320F95F94ED}">
      <dgm:prSet/>
      <dgm:spPr/>
      <dgm:t>
        <a:bodyPr/>
        <a:lstStyle/>
        <a:p>
          <a:endParaRPr lang="de-DE" sz="1400"/>
        </a:p>
      </dgm:t>
    </dgm:pt>
    <dgm:pt modelId="{7874D0C4-8F14-4D0D-A6E3-A0823C2D32B6}">
      <dgm:prSet phldrT="[Text]" custT="1"/>
      <dgm:spPr/>
      <dgm:t>
        <a:bodyPr/>
        <a:lstStyle/>
        <a:p>
          <a:r>
            <a:rPr lang="de-DE" sz="1400" dirty="0"/>
            <a:t>Zuschnitt von X und Y aus der Datensequenz</a:t>
          </a:r>
        </a:p>
      </dgm:t>
    </dgm:pt>
    <dgm:pt modelId="{4CF5C90A-380F-49C9-AE2C-A2DF5B3D2862}" type="parTrans" cxnId="{FE8E6352-A2A0-4B0D-9FBD-2750D893523B}">
      <dgm:prSet/>
      <dgm:spPr/>
      <dgm:t>
        <a:bodyPr/>
        <a:lstStyle/>
        <a:p>
          <a:endParaRPr lang="de-DE"/>
        </a:p>
      </dgm:t>
    </dgm:pt>
    <dgm:pt modelId="{D003E0C1-FB9D-4F1E-8714-2E8846B79D9A}" type="sibTrans" cxnId="{FE8E6352-A2A0-4B0D-9FBD-2750D893523B}">
      <dgm:prSet/>
      <dgm:spPr/>
      <dgm:t>
        <a:bodyPr/>
        <a:lstStyle/>
        <a:p>
          <a:endParaRPr lang="de-DE"/>
        </a:p>
      </dgm:t>
    </dgm:pt>
    <dgm:pt modelId="{44ECAD65-1697-4C5D-B562-6E679A8F2893}">
      <dgm:prSet phldrT="[Text]" custT="1"/>
      <dgm:spPr/>
      <dgm:t>
        <a:bodyPr/>
        <a:lstStyle/>
        <a:p>
          <a:r>
            <a:rPr lang="de-DE" sz="1400" b="1" dirty="0"/>
            <a:t>Aufbau des neuronalen Netzes</a:t>
          </a:r>
        </a:p>
      </dgm:t>
    </dgm:pt>
    <dgm:pt modelId="{A60CA8B5-0168-42CE-B8A3-C3CABA75901F}" type="parTrans" cxnId="{AC40C63E-A62E-4456-A940-1086D86693F2}">
      <dgm:prSet/>
      <dgm:spPr/>
      <dgm:t>
        <a:bodyPr/>
        <a:lstStyle/>
        <a:p>
          <a:endParaRPr lang="de-DE"/>
        </a:p>
      </dgm:t>
    </dgm:pt>
    <dgm:pt modelId="{5F5F62A4-5845-4D7D-8B37-8D6B9C970938}" type="sibTrans" cxnId="{AC40C63E-A62E-4456-A940-1086D86693F2}">
      <dgm:prSet/>
      <dgm:spPr/>
      <dgm:t>
        <a:bodyPr/>
        <a:lstStyle/>
        <a:p>
          <a:endParaRPr lang="de-DE"/>
        </a:p>
      </dgm:t>
    </dgm:pt>
    <dgm:pt modelId="{C992BF9B-F5DF-4A67-8489-32293F488764}">
      <dgm:prSet phldrT="[Text]" custT="1"/>
      <dgm:spPr/>
      <dgm:t>
        <a:bodyPr/>
        <a:lstStyle/>
        <a:p>
          <a:r>
            <a:rPr lang="de-DE" sz="1400" dirty="0"/>
            <a:t>Anzahl der Schichten</a:t>
          </a:r>
        </a:p>
      </dgm:t>
    </dgm:pt>
    <dgm:pt modelId="{6EA3391F-B4FB-4CFE-9E82-43852D2CDA63}" type="parTrans" cxnId="{C1F42D73-46AB-43A3-B31E-7650C24DC060}">
      <dgm:prSet/>
      <dgm:spPr/>
      <dgm:t>
        <a:bodyPr/>
        <a:lstStyle/>
        <a:p>
          <a:endParaRPr lang="de-DE"/>
        </a:p>
      </dgm:t>
    </dgm:pt>
    <dgm:pt modelId="{CDBB932F-E68B-4032-9628-8FD4DFF37A6D}" type="sibTrans" cxnId="{C1F42D73-46AB-43A3-B31E-7650C24DC060}">
      <dgm:prSet/>
      <dgm:spPr/>
      <dgm:t>
        <a:bodyPr/>
        <a:lstStyle/>
        <a:p>
          <a:endParaRPr lang="de-DE"/>
        </a:p>
      </dgm:t>
    </dgm:pt>
    <dgm:pt modelId="{84EFE87B-7342-4652-83C4-61FE8B845FF7}">
      <dgm:prSet phldrT="[Text]" custT="1"/>
      <dgm:spPr/>
      <dgm:t>
        <a:bodyPr/>
        <a:lstStyle/>
        <a:p>
          <a:r>
            <a:rPr lang="de-DE" sz="1400" dirty="0"/>
            <a:t>Typ der Schichten</a:t>
          </a:r>
        </a:p>
      </dgm:t>
    </dgm:pt>
    <dgm:pt modelId="{0BA49E36-C4A2-44CF-8369-14E8BF94F6B4}" type="parTrans" cxnId="{69CB778E-8F28-4976-A6E2-2F56E2AB1074}">
      <dgm:prSet/>
      <dgm:spPr/>
      <dgm:t>
        <a:bodyPr/>
        <a:lstStyle/>
        <a:p>
          <a:endParaRPr lang="de-DE"/>
        </a:p>
      </dgm:t>
    </dgm:pt>
    <dgm:pt modelId="{95027CCA-0E4A-4E64-AB0F-704BA3CF558E}" type="sibTrans" cxnId="{69CB778E-8F28-4976-A6E2-2F56E2AB1074}">
      <dgm:prSet/>
      <dgm:spPr/>
      <dgm:t>
        <a:bodyPr/>
        <a:lstStyle/>
        <a:p>
          <a:endParaRPr lang="de-DE"/>
        </a:p>
      </dgm:t>
    </dgm:pt>
    <dgm:pt modelId="{1B226A70-8804-47CB-BBB4-09F55732B0E9}">
      <dgm:prSet phldrT="[Text]" custT="1"/>
      <dgm:spPr/>
      <dgm:t>
        <a:bodyPr/>
        <a:lstStyle/>
        <a:p>
          <a:r>
            <a:rPr lang="de-DE" sz="1400" dirty="0"/>
            <a:t>Art der Aktivierung</a:t>
          </a:r>
        </a:p>
      </dgm:t>
    </dgm:pt>
    <dgm:pt modelId="{DF5905AB-9E9A-4ACE-94E8-F0301A413D55}" type="parTrans" cxnId="{A164FB7B-8CEF-495B-A0A0-5C6408DD9A6B}">
      <dgm:prSet/>
      <dgm:spPr/>
      <dgm:t>
        <a:bodyPr/>
        <a:lstStyle/>
        <a:p>
          <a:endParaRPr lang="de-DE"/>
        </a:p>
      </dgm:t>
    </dgm:pt>
    <dgm:pt modelId="{D61B6B44-2914-453B-88EC-9067F7955B79}" type="sibTrans" cxnId="{A164FB7B-8CEF-495B-A0A0-5C6408DD9A6B}">
      <dgm:prSet/>
      <dgm:spPr/>
      <dgm:t>
        <a:bodyPr/>
        <a:lstStyle/>
        <a:p>
          <a:endParaRPr lang="de-DE"/>
        </a:p>
      </dgm:t>
    </dgm:pt>
    <dgm:pt modelId="{5D62F6B2-779A-4555-9EEF-3D6BBE9BA67D}">
      <dgm:prSet phldrT="[Text]" custT="1"/>
      <dgm:spPr/>
      <dgm:t>
        <a:bodyPr/>
        <a:lstStyle/>
        <a:p>
          <a:r>
            <a:rPr lang="de-DE" sz="1400" dirty="0"/>
            <a:t>Anzahl der Neuronen pro Schicht</a:t>
          </a:r>
        </a:p>
      </dgm:t>
    </dgm:pt>
    <dgm:pt modelId="{9C718D8F-4249-40F0-8924-CAE292BD8134}" type="parTrans" cxnId="{B0F16946-BC3F-4356-952A-772D505A9A4C}">
      <dgm:prSet/>
      <dgm:spPr/>
      <dgm:t>
        <a:bodyPr/>
        <a:lstStyle/>
        <a:p>
          <a:endParaRPr lang="de-DE"/>
        </a:p>
      </dgm:t>
    </dgm:pt>
    <dgm:pt modelId="{38CC95CE-948F-4E74-8EEE-18F5432BD95F}" type="sibTrans" cxnId="{B0F16946-BC3F-4356-952A-772D505A9A4C}">
      <dgm:prSet/>
      <dgm:spPr/>
      <dgm:t>
        <a:bodyPr/>
        <a:lstStyle/>
        <a:p>
          <a:endParaRPr lang="de-DE"/>
        </a:p>
      </dgm:t>
    </dgm:pt>
    <dgm:pt modelId="{81C23169-FAEF-4BDE-A069-966731337945}">
      <dgm:prSet phldrT="[Text]" custT="1"/>
      <dgm:spPr/>
      <dgm:t>
        <a:bodyPr/>
        <a:lstStyle/>
        <a:p>
          <a:r>
            <a:rPr lang="de-DE" sz="1400" b="1" dirty="0"/>
            <a:t>Festlegung der Hyperparameter</a:t>
          </a:r>
        </a:p>
      </dgm:t>
    </dgm:pt>
    <dgm:pt modelId="{4D713B38-D43B-4F2C-A6F0-08C7AA4D3370}" type="parTrans" cxnId="{F50F42C3-DEAE-4D93-BB7D-AA872192B9C4}">
      <dgm:prSet/>
      <dgm:spPr/>
      <dgm:t>
        <a:bodyPr/>
        <a:lstStyle/>
        <a:p>
          <a:endParaRPr lang="de-DE"/>
        </a:p>
      </dgm:t>
    </dgm:pt>
    <dgm:pt modelId="{C1ACA79D-2AFE-4BC8-B567-0EF8554B02A5}" type="sibTrans" cxnId="{F50F42C3-DEAE-4D93-BB7D-AA872192B9C4}">
      <dgm:prSet/>
      <dgm:spPr/>
      <dgm:t>
        <a:bodyPr/>
        <a:lstStyle/>
        <a:p>
          <a:endParaRPr lang="de-DE"/>
        </a:p>
      </dgm:t>
    </dgm:pt>
    <dgm:pt modelId="{7F15262A-DA1E-4F75-AF5C-40C854D60A85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r Verlustfunktion</a:t>
          </a:r>
        </a:p>
      </dgm:t>
    </dgm:pt>
    <dgm:pt modelId="{5DBBA9DE-11F2-4301-93EF-CE04C19F8E9A}" type="parTrans" cxnId="{50261516-879C-4FEF-BF6D-0D60F97B5456}">
      <dgm:prSet/>
      <dgm:spPr/>
      <dgm:t>
        <a:bodyPr/>
        <a:lstStyle/>
        <a:p>
          <a:endParaRPr lang="de-DE"/>
        </a:p>
      </dgm:t>
    </dgm:pt>
    <dgm:pt modelId="{56EB540A-6D2D-4554-A09B-585773FCE023}" type="sibTrans" cxnId="{50261516-879C-4FEF-BF6D-0D60F97B5456}">
      <dgm:prSet/>
      <dgm:spPr/>
      <dgm:t>
        <a:bodyPr/>
        <a:lstStyle/>
        <a:p>
          <a:endParaRPr lang="de-DE"/>
        </a:p>
      </dgm:t>
    </dgm:pt>
    <dgm:pt modelId="{5DD3229C-C5DD-4A39-AC85-FB71E89C71F2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r Epochen</a:t>
          </a:r>
        </a:p>
      </dgm:t>
    </dgm:pt>
    <dgm:pt modelId="{9C51C98F-DDD3-443E-95F7-8A866A8AE0A9}" type="parTrans" cxnId="{2E51088B-9FAB-41AA-87BD-E10362056E67}">
      <dgm:prSet/>
      <dgm:spPr/>
      <dgm:t>
        <a:bodyPr/>
        <a:lstStyle/>
        <a:p>
          <a:endParaRPr lang="de-DE"/>
        </a:p>
      </dgm:t>
    </dgm:pt>
    <dgm:pt modelId="{12C8C82F-35DD-4E7C-A589-52CE46109E46}" type="sibTrans" cxnId="{2E51088B-9FAB-41AA-87BD-E10362056E67}">
      <dgm:prSet/>
      <dgm:spPr/>
      <dgm:t>
        <a:bodyPr/>
        <a:lstStyle/>
        <a:p>
          <a:endParaRPr lang="de-DE"/>
        </a:p>
      </dgm:t>
    </dgm:pt>
    <dgm:pt modelId="{92597F4D-A44C-4CC4-A379-3C95A7F5E23C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s Optimierungsmechanismus</a:t>
          </a:r>
        </a:p>
      </dgm:t>
    </dgm:pt>
    <dgm:pt modelId="{4025FE31-87D2-40C4-B673-01263BBE517A}" type="parTrans" cxnId="{19EAB137-E2DE-48AA-9153-4A0EC6740EE9}">
      <dgm:prSet/>
      <dgm:spPr/>
      <dgm:t>
        <a:bodyPr/>
        <a:lstStyle/>
        <a:p>
          <a:endParaRPr lang="de-DE"/>
        </a:p>
      </dgm:t>
    </dgm:pt>
    <dgm:pt modelId="{B7649C1B-6D88-4604-82EF-4DDB46E25CA8}" type="sibTrans" cxnId="{19EAB137-E2DE-48AA-9153-4A0EC6740EE9}">
      <dgm:prSet/>
      <dgm:spPr/>
      <dgm:t>
        <a:bodyPr/>
        <a:lstStyle/>
        <a:p>
          <a:endParaRPr lang="de-DE"/>
        </a:p>
      </dgm:t>
    </dgm:pt>
    <dgm:pt modelId="{BE3B2D11-EB8B-471B-A7DC-502504D9C8F1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/>
            <a:t>Wahl der Parameter des Optimierungsmechanismus</a:t>
          </a:r>
          <a:endParaRPr lang="de-DE" sz="1400" dirty="0"/>
        </a:p>
      </dgm:t>
    </dgm:pt>
    <dgm:pt modelId="{7D43578C-E5F9-4B56-8FFA-B1DEC8A62CED}" type="parTrans" cxnId="{91DB1952-6F61-46B1-AA6D-EEF8FD212429}">
      <dgm:prSet/>
      <dgm:spPr/>
      <dgm:t>
        <a:bodyPr/>
        <a:lstStyle/>
        <a:p>
          <a:endParaRPr lang="de-DE"/>
        </a:p>
      </dgm:t>
    </dgm:pt>
    <dgm:pt modelId="{FE4A7049-02FF-4273-86C0-6C8EA8B40CEE}" type="sibTrans" cxnId="{91DB1952-6F61-46B1-AA6D-EEF8FD212429}">
      <dgm:prSet/>
      <dgm:spPr/>
      <dgm:t>
        <a:bodyPr/>
        <a:lstStyle/>
        <a:p>
          <a:endParaRPr lang="de-DE"/>
        </a:p>
      </dgm:t>
    </dgm:pt>
    <dgm:pt modelId="{4C84E1FB-F406-4664-A669-0CDE3BBD5BA0}" type="pres">
      <dgm:prSet presAssocID="{2ABBB57F-1732-4FA3-A876-8CB78B7C7083}" presName="linear" presStyleCnt="0">
        <dgm:presLayoutVars>
          <dgm:animLvl val="lvl"/>
          <dgm:resizeHandles val="exact"/>
        </dgm:presLayoutVars>
      </dgm:prSet>
      <dgm:spPr/>
    </dgm:pt>
    <dgm:pt modelId="{C328561F-3389-4EF8-A729-05D8C9BACB36}" type="pres">
      <dgm:prSet presAssocID="{82B203FF-C5C8-40CC-84F2-DEC2CD2276DF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627FE9A7-F57C-418C-814B-8629F18B4596}" type="pres">
      <dgm:prSet presAssocID="{82B203FF-C5C8-40CC-84F2-DEC2CD2276DF}" presName="childText" presStyleLbl="revTx" presStyleIdx="0" presStyleCnt="4">
        <dgm:presLayoutVars>
          <dgm:bulletEnabled val="1"/>
        </dgm:presLayoutVars>
      </dgm:prSet>
      <dgm:spPr/>
    </dgm:pt>
    <dgm:pt modelId="{FF5983FE-E4DE-4E57-AAD4-E6C799C9C3AA}" type="pres">
      <dgm:prSet presAssocID="{0E84909A-C494-4C20-93A1-8C98E8666A39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9477F54-E1FB-47C5-89CE-3DA20E89F061}" type="pres">
      <dgm:prSet presAssocID="{0E84909A-C494-4C20-93A1-8C98E8666A39}" presName="childText" presStyleLbl="revTx" presStyleIdx="1" presStyleCnt="4">
        <dgm:presLayoutVars>
          <dgm:bulletEnabled val="1"/>
        </dgm:presLayoutVars>
      </dgm:prSet>
      <dgm:spPr/>
    </dgm:pt>
    <dgm:pt modelId="{733F7779-83BA-4DAE-BCFA-18BC404F6FA0}" type="pres">
      <dgm:prSet presAssocID="{44ECAD65-1697-4C5D-B562-6E679A8F2893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05ABDD20-A1EA-4974-B05F-0EC19E638766}" type="pres">
      <dgm:prSet presAssocID="{44ECAD65-1697-4C5D-B562-6E679A8F2893}" presName="childText" presStyleLbl="revTx" presStyleIdx="2" presStyleCnt="4">
        <dgm:presLayoutVars>
          <dgm:bulletEnabled val="1"/>
        </dgm:presLayoutVars>
      </dgm:prSet>
      <dgm:spPr/>
    </dgm:pt>
    <dgm:pt modelId="{ABB4A065-1986-433F-9690-CAC2A70B2D57}" type="pres">
      <dgm:prSet presAssocID="{81C23169-FAEF-4BDE-A069-966731337945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1F1668FF-B4F3-4071-B1F3-F96CF274091A}" type="pres">
      <dgm:prSet presAssocID="{81C23169-FAEF-4BDE-A069-966731337945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E10BFA04-10BF-4F7E-B869-71321779B465}" type="presOf" srcId="{82B203FF-C5C8-40CC-84F2-DEC2CD2276DF}" destId="{C328561F-3389-4EF8-A729-05D8C9BACB36}" srcOrd="0" destOrd="0" presId="urn:microsoft.com/office/officeart/2005/8/layout/vList2"/>
    <dgm:cxn modelId="{D4039B09-547C-454A-97C7-53E71AE0F734}" type="presOf" srcId="{F71ACEB4-4B5C-498A-911D-A9435AA10741}" destId="{F9477F54-E1FB-47C5-89CE-3DA20E89F061}" srcOrd="0" destOrd="0" presId="urn:microsoft.com/office/officeart/2005/8/layout/vList2"/>
    <dgm:cxn modelId="{7F59590C-A3AD-473B-BBE1-7BAC0402E92D}" type="presOf" srcId="{1B226A70-8804-47CB-BBB4-09F55732B0E9}" destId="{05ABDD20-A1EA-4974-B05F-0EC19E638766}" srcOrd="0" destOrd="2" presId="urn:microsoft.com/office/officeart/2005/8/layout/vList2"/>
    <dgm:cxn modelId="{F38B6713-3359-484E-987D-E1BB338E5031}" type="presOf" srcId="{92597F4D-A44C-4CC4-A379-3C95A7F5E23C}" destId="{1F1668FF-B4F3-4071-B1F3-F96CF274091A}" srcOrd="0" destOrd="2" presId="urn:microsoft.com/office/officeart/2005/8/layout/vList2"/>
    <dgm:cxn modelId="{50261516-879C-4FEF-BF6D-0D60F97B5456}" srcId="{81C23169-FAEF-4BDE-A069-966731337945}" destId="{7F15262A-DA1E-4F75-AF5C-40C854D60A85}" srcOrd="0" destOrd="0" parTransId="{5DBBA9DE-11F2-4301-93EF-CE04C19F8E9A}" sibTransId="{56EB540A-6D2D-4554-A09B-585773FCE023}"/>
    <dgm:cxn modelId="{680D431B-2412-4227-A131-4A18862698AD}" type="presOf" srcId="{D5CEBF60-33A4-41FE-8B46-D24E77BA0543}" destId="{627FE9A7-F57C-418C-814B-8629F18B4596}" srcOrd="0" destOrd="0" presId="urn:microsoft.com/office/officeart/2005/8/layout/vList2"/>
    <dgm:cxn modelId="{82DEBE24-7317-4A42-B72B-189344B89A98}" type="presOf" srcId="{2ABBB57F-1732-4FA3-A876-8CB78B7C7083}" destId="{4C84E1FB-F406-4664-A669-0CDE3BBD5BA0}" srcOrd="0" destOrd="0" presId="urn:microsoft.com/office/officeart/2005/8/layout/vList2"/>
    <dgm:cxn modelId="{19EAB137-E2DE-48AA-9153-4A0EC6740EE9}" srcId="{81C23169-FAEF-4BDE-A069-966731337945}" destId="{92597F4D-A44C-4CC4-A379-3C95A7F5E23C}" srcOrd="2" destOrd="0" parTransId="{4025FE31-87D2-40C4-B673-01263BBE517A}" sibTransId="{B7649C1B-6D88-4604-82EF-4DDB46E25CA8}"/>
    <dgm:cxn modelId="{5A17DE37-9763-4DCA-9593-D630ED420338}" type="presOf" srcId="{5DD3229C-C5DD-4A39-AC85-FB71E89C71F2}" destId="{1F1668FF-B4F3-4071-B1F3-F96CF274091A}" srcOrd="0" destOrd="1" presId="urn:microsoft.com/office/officeart/2005/8/layout/vList2"/>
    <dgm:cxn modelId="{3D05153E-0B27-4ACC-A912-52746F6912FD}" type="presOf" srcId="{0E84909A-C494-4C20-93A1-8C98E8666A39}" destId="{FF5983FE-E4DE-4E57-AAD4-E6C799C9C3AA}" srcOrd="0" destOrd="0" presId="urn:microsoft.com/office/officeart/2005/8/layout/vList2"/>
    <dgm:cxn modelId="{AC40C63E-A62E-4456-A940-1086D86693F2}" srcId="{2ABBB57F-1732-4FA3-A876-8CB78B7C7083}" destId="{44ECAD65-1697-4C5D-B562-6E679A8F2893}" srcOrd="2" destOrd="0" parTransId="{A60CA8B5-0168-42CE-B8A3-C3CABA75901F}" sibTransId="{5F5F62A4-5845-4D7D-8B37-8D6B9C970938}"/>
    <dgm:cxn modelId="{582F5061-317B-48FE-9458-76EFC259B0CF}" type="presOf" srcId="{84EFE87B-7342-4652-83C4-61FE8B845FF7}" destId="{05ABDD20-A1EA-4974-B05F-0EC19E638766}" srcOrd="0" destOrd="1" presId="urn:microsoft.com/office/officeart/2005/8/layout/vList2"/>
    <dgm:cxn modelId="{B0F16946-BC3F-4356-952A-772D505A9A4C}" srcId="{44ECAD65-1697-4C5D-B562-6E679A8F2893}" destId="{5D62F6B2-779A-4555-9EEF-3D6BBE9BA67D}" srcOrd="3" destOrd="0" parTransId="{9C718D8F-4249-40F0-8924-CAE292BD8134}" sibTransId="{38CC95CE-948F-4E74-8EEE-18F5432BD95F}"/>
    <dgm:cxn modelId="{91DB1952-6F61-46B1-AA6D-EEF8FD212429}" srcId="{81C23169-FAEF-4BDE-A069-966731337945}" destId="{BE3B2D11-EB8B-471B-A7DC-502504D9C8F1}" srcOrd="3" destOrd="0" parTransId="{7D43578C-E5F9-4B56-8FFA-B1DEC8A62CED}" sibTransId="{FE4A7049-02FF-4273-86C0-6C8EA8B40CEE}"/>
    <dgm:cxn modelId="{FE8E6352-A2A0-4B0D-9FBD-2750D893523B}" srcId="{0E84909A-C494-4C20-93A1-8C98E8666A39}" destId="{7874D0C4-8F14-4D0D-A6E3-A0823C2D32B6}" srcOrd="1" destOrd="0" parTransId="{4CF5C90A-380F-49C9-AE2C-A2DF5B3D2862}" sibTransId="{D003E0C1-FB9D-4F1E-8714-2E8846B79D9A}"/>
    <dgm:cxn modelId="{C1F42D73-46AB-43A3-B31E-7650C24DC060}" srcId="{44ECAD65-1697-4C5D-B562-6E679A8F2893}" destId="{C992BF9B-F5DF-4A67-8489-32293F488764}" srcOrd="0" destOrd="0" parTransId="{6EA3391F-B4FB-4CFE-9E82-43852D2CDA63}" sibTransId="{CDBB932F-E68B-4032-9628-8FD4DFF37A6D}"/>
    <dgm:cxn modelId="{A04EFE56-B951-4BDF-BCCF-0320F95F94ED}" srcId="{0E84909A-C494-4C20-93A1-8C98E8666A39}" destId="{F71ACEB4-4B5C-498A-911D-A9435AA10741}" srcOrd="0" destOrd="0" parTransId="{A632CA68-8ED0-4F1B-A322-B63B54E50BAC}" sibTransId="{4C38089B-5FD9-467D-87AB-F194BC6FCC37}"/>
    <dgm:cxn modelId="{C8204C77-EC8D-416B-AADB-467166ECC10B}" type="presOf" srcId="{44ECAD65-1697-4C5D-B562-6E679A8F2893}" destId="{733F7779-83BA-4DAE-BCFA-18BC404F6FA0}" srcOrd="0" destOrd="0" presId="urn:microsoft.com/office/officeart/2005/8/layout/vList2"/>
    <dgm:cxn modelId="{A164FB7B-8CEF-495B-A0A0-5C6408DD9A6B}" srcId="{44ECAD65-1697-4C5D-B562-6E679A8F2893}" destId="{1B226A70-8804-47CB-BBB4-09F55732B0E9}" srcOrd="2" destOrd="0" parTransId="{DF5905AB-9E9A-4ACE-94E8-F0301A413D55}" sibTransId="{D61B6B44-2914-453B-88EC-9067F7955B79}"/>
    <dgm:cxn modelId="{2E51088B-9FAB-41AA-87BD-E10362056E67}" srcId="{81C23169-FAEF-4BDE-A069-966731337945}" destId="{5DD3229C-C5DD-4A39-AC85-FB71E89C71F2}" srcOrd="1" destOrd="0" parTransId="{9C51C98F-DDD3-443E-95F7-8A866A8AE0A9}" sibTransId="{12C8C82F-35DD-4E7C-A589-52CE46109E46}"/>
    <dgm:cxn modelId="{69CB778E-8F28-4976-A6E2-2F56E2AB1074}" srcId="{44ECAD65-1697-4C5D-B562-6E679A8F2893}" destId="{84EFE87B-7342-4652-83C4-61FE8B845FF7}" srcOrd="1" destOrd="0" parTransId="{0BA49E36-C4A2-44CF-8369-14E8BF94F6B4}" sibTransId="{95027CCA-0E4A-4E64-AB0F-704BA3CF558E}"/>
    <dgm:cxn modelId="{EC580993-FDEA-4C53-AA05-CCFCABC9392D}" type="presOf" srcId="{7F15262A-DA1E-4F75-AF5C-40C854D60A85}" destId="{1F1668FF-B4F3-4071-B1F3-F96CF274091A}" srcOrd="0" destOrd="0" presId="urn:microsoft.com/office/officeart/2005/8/layout/vList2"/>
    <dgm:cxn modelId="{24B303B5-6CCF-4750-BD2A-498C4510C2EC}" type="presOf" srcId="{81C23169-FAEF-4BDE-A069-966731337945}" destId="{ABB4A065-1986-433F-9690-CAC2A70B2D57}" srcOrd="0" destOrd="0" presId="urn:microsoft.com/office/officeart/2005/8/layout/vList2"/>
    <dgm:cxn modelId="{F50F42C3-DEAE-4D93-BB7D-AA872192B9C4}" srcId="{2ABBB57F-1732-4FA3-A876-8CB78B7C7083}" destId="{81C23169-FAEF-4BDE-A069-966731337945}" srcOrd="3" destOrd="0" parTransId="{4D713B38-D43B-4F2C-A6F0-08C7AA4D3370}" sibTransId="{C1ACA79D-2AFE-4BC8-B567-0EF8554B02A5}"/>
    <dgm:cxn modelId="{31E9A9C8-BF9A-4388-B84F-4B882F30A9D8}" srcId="{2ABBB57F-1732-4FA3-A876-8CB78B7C7083}" destId="{82B203FF-C5C8-40CC-84F2-DEC2CD2276DF}" srcOrd="0" destOrd="0" parTransId="{787E06A3-FFE7-4AB2-A8E4-AB339300753A}" sibTransId="{6214A214-738C-4E41-AEC9-52578E356B70}"/>
    <dgm:cxn modelId="{2D97FCD8-5F90-44F8-A6A4-65486C470621}" srcId="{82B203FF-C5C8-40CC-84F2-DEC2CD2276DF}" destId="{D5CEBF60-33A4-41FE-8B46-D24E77BA0543}" srcOrd="0" destOrd="0" parTransId="{A7DACED2-4D39-4496-A727-B86E371D7662}" sibTransId="{B9F47839-0E49-40F6-925B-9C3CEF9B85D7}"/>
    <dgm:cxn modelId="{89C306DF-83AA-4256-A022-35ECFD94C515}" type="presOf" srcId="{5D62F6B2-779A-4555-9EEF-3D6BBE9BA67D}" destId="{05ABDD20-A1EA-4974-B05F-0EC19E638766}" srcOrd="0" destOrd="3" presId="urn:microsoft.com/office/officeart/2005/8/layout/vList2"/>
    <dgm:cxn modelId="{1CAA2CE0-A974-4295-AD62-F983D73A4F29}" type="presOf" srcId="{C992BF9B-F5DF-4A67-8489-32293F488764}" destId="{05ABDD20-A1EA-4974-B05F-0EC19E638766}" srcOrd="0" destOrd="0" presId="urn:microsoft.com/office/officeart/2005/8/layout/vList2"/>
    <dgm:cxn modelId="{A8FFBDE6-42C0-4DC9-A00A-6481B300BE67}" type="presOf" srcId="{BE3B2D11-EB8B-471B-A7DC-502504D9C8F1}" destId="{1F1668FF-B4F3-4071-B1F3-F96CF274091A}" srcOrd="0" destOrd="3" presId="urn:microsoft.com/office/officeart/2005/8/layout/vList2"/>
    <dgm:cxn modelId="{32B9B3E8-2B33-474F-BB24-C4861D53E7EE}" srcId="{2ABBB57F-1732-4FA3-A876-8CB78B7C7083}" destId="{0E84909A-C494-4C20-93A1-8C98E8666A39}" srcOrd="1" destOrd="0" parTransId="{71BF0461-DC0D-436B-8580-330EC939315A}" sibTransId="{6D49113F-F609-4566-8016-69FAC31BAD68}"/>
    <dgm:cxn modelId="{6AE44BF9-73C0-4AD2-9722-619D100C30E7}" type="presOf" srcId="{7874D0C4-8F14-4D0D-A6E3-A0823C2D32B6}" destId="{F9477F54-E1FB-47C5-89CE-3DA20E89F061}" srcOrd="0" destOrd="1" presId="urn:microsoft.com/office/officeart/2005/8/layout/vList2"/>
    <dgm:cxn modelId="{44F49261-0F68-4340-8D0C-5BC8587466D3}" type="presParOf" srcId="{4C84E1FB-F406-4664-A669-0CDE3BBD5BA0}" destId="{C328561F-3389-4EF8-A729-05D8C9BACB36}" srcOrd="0" destOrd="0" presId="urn:microsoft.com/office/officeart/2005/8/layout/vList2"/>
    <dgm:cxn modelId="{33E768DC-03A9-4F97-948D-07F6738AF5A8}" type="presParOf" srcId="{4C84E1FB-F406-4664-A669-0CDE3BBD5BA0}" destId="{627FE9A7-F57C-418C-814B-8629F18B4596}" srcOrd="1" destOrd="0" presId="urn:microsoft.com/office/officeart/2005/8/layout/vList2"/>
    <dgm:cxn modelId="{D3789D04-C279-4B91-B8B1-33BE219A626A}" type="presParOf" srcId="{4C84E1FB-F406-4664-A669-0CDE3BBD5BA0}" destId="{FF5983FE-E4DE-4E57-AAD4-E6C799C9C3AA}" srcOrd="2" destOrd="0" presId="urn:microsoft.com/office/officeart/2005/8/layout/vList2"/>
    <dgm:cxn modelId="{A3C3E3D0-A856-4368-A166-2CC15AC92CDF}" type="presParOf" srcId="{4C84E1FB-F406-4664-A669-0CDE3BBD5BA0}" destId="{F9477F54-E1FB-47C5-89CE-3DA20E89F061}" srcOrd="3" destOrd="0" presId="urn:microsoft.com/office/officeart/2005/8/layout/vList2"/>
    <dgm:cxn modelId="{135E2765-83A0-4CD5-AB3F-CDCC73ECA3DC}" type="presParOf" srcId="{4C84E1FB-F406-4664-A669-0CDE3BBD5BA0}" destId="{733F7779-83BA-4DAE-BCFA-18BC404F6FA0}" srcOrd="4" destOrd="0" presId="urn:microsoft.com/office/officeart/2005/8/layout/vList2"/>
    <dgm:cxn modelId="{94F50165-3763-46BE-A0D6-5F1F00107404}" type="presParOf" srcId="{4C84E1FB-F406-4664-A669-0CDE3BBD5BA0}" destId="{05ABDD20-A1EA-4974-B05F-0EC19E638766}" srcOrd="5" destOrd="0" presId="urn:microsoft.com/office/officeart/2005/8/layout/vList2"/>
    <dgm:cxn modelId="{5FBDC89D-6694-4134-BE22-8AC2B1F0701C}" type="presParOf" srcId="{4C84E1FB-F406-4664-A669-0CDE3BBD5BA0}" destId="{ABB4A065-1986-433F-9690-CAC2A70B2D57}" srcOrd="6" destOrd="0" presId="urn:microsoft.com/office/officeart/2005/8/layout/vList2"/>
    <dgm:cxn modelId="{1C249692-0C33-42C6-B78C-94F80A42C905}" type="presParOf" srcId="{4C84E1FB-F406-4664-A669-0CDE3BBD5BA0}" destId="{1F1668FF-B4F3-4071-B1F3-F96CF274091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ABBB57F-1732-4FA3-A876-8CB78B7C7083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82B203FF-C5C8-40CC-84F2-DEC2CD2276DF}">
      <dgm:prSet phldrT="[Text]" custT="1"/>
      <dgm:spPr/>
      <dgm:t>
        <a:bodyPr/>
        <a:lstStyle/>
        <a:p>
          <a:r>
            <a:rPr lang="de-DE" sz="1400" dirty="0"/>
            <a:t>Formulierung des Zusammenhangs</a:t>
          </a:r>
        </a:p>
      </dgm:t>
    </dgm:pt>
    <dgm:pt modelId="{787E06A3-FFE7-4AB2-A8E4-AB339300753A}" type="parTrans" cxnId="{31E9A9C8-BF9A-4388-B84F-4B882F30A9D8}">
      <dgm:prSet/>
      <dgm:spPr/>
      <dgm:t>
        <a:bodyPr/>
        <a:lstStyle/>
        <a:p>
          <a:endParaRPr lang="de-DE" sz="1400"/>
        </a:p>
      </dgm:t>
    </dgm:pt>
    <dgm:pt modelId="{6214A214-738C-4E41-AEC9-52578E356B70}" type="sibTrans" cxnId="{31E9A9C8-BF9A-4388-B84F-4B882F30A9D8}">
      <dgm:prSet/>
      <dgm:spPr/>
      <dgm:t>
        <a:bodyPr/>
        <a:lstStyle/>
        <a:p>
          <a:endParaRPr lang="de-DE" sz="1400"/>
        </a:p>
      </dgm:t>
    </dgm:pt>
    <dgm:pt modelId="{D5CEBF60-33A4-41FE-8B46-D24E77BA0543}">
      <dgm:prSet phldrT="[Text]" custT="1"/>
      <dgm:spPr/>
      <dgm:t>
        <a:bodyPr/>
        <a:lstStyle/>
        <a:p>
          <a:r>
            <a:rPr lang="de-DE" sz="1400" dirty="0"/>
            <a:t>Auswahl und </a:t>
          </a:r>
          <a:r>
            <a:rPr lang="de-DE" sz="1400" b="1" dirty="0"/>
            <a:t>Normierung</a:t>
          </a:r>
          <a:r>
            <a:rPr lang="de-DE" sz="1400" dirty="0"/>
            <a:t> Input- und </a:t>
          </a:r>
          <a:r>
            <a:rPr lang="de-DE" sz="1400" dirty="0" err="1"/>
            <a:t>Outputgrößen</a:t>
          </a:r>
          <a:endParaRPr lang="de-DE" sz="1400" dirty="0"/>
        </a:p>
      </dgm:t>
    </dgm:pt>
    <dgm:pt modelId="{A7DACED2-4D39-4496-A727-B86E371D7662}" type="parTrans" cxnId="{2D97FCD8-5F90-44F8-A6A4-65486C470621}">
      <dgm:prSet/>
      <dgm:spPr/>
      <dgm:t>
        <a:bodyPr/>
        <a:lstStyle/>
        <a:p>
          <a:endParaRPr lang="de-DE" sz="1400"/>
        </a:p>
      </dgm:t>
    </dgm:pt>
    <dgm:pt modelId="{B9F47839-0E49-40F6-925B-9C3CEF9B85D7}" type="sibTrans" cxnId="{2D97FCD8-5F90-44F8-A6A4-65486C470621}">
      <dgm:prSet/>
      <dgm:spPr/>
      <dgm:t>
        <a:bodyPr/>
        <a:lstStyle/>
        <a:p>
          <a:endParaRPr lang="de-DE" sz="1400"/>
        </a:p>
      </dgm:t>
    </dgm:pt>
    <dgm:pt modelId="{0E84909A-C494-4C20-93A1-8C98E8666A39}">
      <dgm:prSet phldrT="[Text]" custT="1"/>
      <dgm:spPr/>
      <dgm:t>
        <a:bodyPr/>
        <a:lstStyle/>
        <a:p>
          <a:r>
            <a:rPr lang="de-DE" sz="1400" dirty="0"/>
            <a:t>Vorbereitung der Daten</a:t>
          </a:r>
        </a:p>
      </dgm:t>
    </dgm:pt>
    <dgm:pt modelId="{71BF0461-DC0D-436B-8580-330EC939315A}" type="parTrans" cxnId="{32B9B3E8-2B33-474F-BB24-C4861D53E7EE}">
      <dgm:prSet/>
      <dgm:spPr/>
      <dgm:t>
        <a:bodyPr/>
        <a:lstStyle/>
        <a:p>
          <a:endParaRPr lang="de-DE" sz="1400"/>
        </a:p>
      </dgm:t>
    </dgm:pt>
    <dgm:pt modelId="{6D49113F-F609-4566-8016-69FAC31BAD68}" type="sibTrans" cxnId="{32B9B3E8-2B33-474F-BB24-C4861D53E7EE}">
      <dgm:prSet/>
      <dgm:spPr/>
      <dgm:t>
        <a:bodyPr/>
        <a:lstStyle/>
        <a:p>
          <a:endParaRPr lang="de-DE" sz="1400"/>
        </a:p>
      </dgm:t>
    </dgm:pt>
    <dgm:pt modelId="{F71ACEB4-4B5C-498A-911D-A9435AA10741}">
      <dgm:prSet phldrT="[Text]" custT="1"/>
      <dgm:spPr/>
      <dgm:t>
        <a:bodyPr/>
        <a:lstStyle/>
        <a:p>
          <a:r>
            <a:rPr lang="de-DE" sz="1400" dirty="0"/>
            <a:t>Trennung Trainings-, Validierungs-, und Testdaten</a:t>
          </a:r>
        </a:p>
      </dgm:t>
    </dgm:pt>
    <dgm:pt modelId="{A632CA68-8ED0-4F1B-A322-B63B54E50BAC}" type="parTrans" cxnId="{A04EFE56-B951-4BDF-BCCF-0320F95F94ED}">
      <dgm:prSet/>
      <dgm:spPr/>
      <dgm:t>
        <a:bodyPr/>
        <a:lstStyle/>
        <a:p>
          <a:endParaRPr lang="de-DE" sz="1400"/>
        </a:p>
      </dgm:t>
    </dgm:pt>
    <dgm:pt modelId="{4C38089B-5FD9-467D-87AB-F194BC6FCC37}" type="sibTrans" cxnId="{A04EFE56-B951-4BDF-BCCF-0320F95F94ED}">
      <dgm:prSet/>
      <dgm:spPr/>
      <dgm:t>
        <a:bodyPr/>
        <a:lstStyle/>
        <a:p>
          <a:endParaRPr lang="de-DE" sz="1400"/>
        </a:p>
      </dgm:t>
    </dgm:pt>
    <dgm:pt modelId="{7874D0C4-8F14-4D0D-A6E3-A0823C2D32B6}">
      <dgm:prSet phldrT="[Text]" custT="1"/>
      <dgm:spPr/>
      <dgm:t>
        <a:bodyPr/>
        <a:lstStyle/>
        <a:p>
          <a:r>
            <a:rPr lang="de-DE" sz="1400" dirty="0"/>
            <a:t>Zuschnitt von X und Y aus der Datensequenz</a:t>
          </a:r>
        </a:p>
      </dgm:t>
    </dgm:pt>
    <dgm:pt modelId="{4CF5C90A-380F-49C9-AE2C-A2DF5B3D2862}" type="parTrans" cxnId="{FE8E6352-A2A0-4B0D-9FBD-2750D893523B}">
      <dgm:prSet/>
      <dgm:spPr/>
      <dgm:t>
        <a:bodyPr/>
        <a:lstStyle/>
        <a:p>
          <a:endParaRPr lang="de-DE"/>
        </a:p>
      </dgm:t>
    </dgm:pt>
    <dgm:pt modelId="{D003E0C1-FB9D-4F1E-8714-2E8846B79D9A}" type="sibTrans" cxnId="{FE8E6352-A2A0-4B0D-9FBD-2750D893523B}">
      <dgm:prSet/>
      <dgm:spPr/>
      <dgm:t>
        <a:bodyPr/>
        <a:lstStyle/>
        <a:p>
          <a:endParaRPr lang="de-DE"/>
        </a:p>
      </dgm:t>
    </dgm:pt>
    <dgm:pt modelId="{44ECAD65-1697-4C5D-B562-6E679A8F2893}">
      <dgm:prSet phldrT="[Text]" custT="1"/>
      <dgm:spPr/>
      <dgm:t>
        <a:bodyPr/>
        <a:lstStyle/>
        <a:p>
          <a:r>
            <a:rPr lang="de-DE" sz="1400" dirty="0"/>
            <a:t>Aufbau des neuronalen Netzes</a:t>
          </a:r>
        </a:p>
      </dgm:t>
    </dgm:pt>
    <dgm:pt modelId="{A60CA8B5-0168-42CE-B8A3-C3CABA75901F}" type="parTrans" cxnId="{AC40C63E-A62E-4456-A940-1086D86693F2}">
      <dgm:prSet/>
      <dgm:spPr/>
      <dgm:t>
        <a:bodyPr/>
        <a:lstStyle/>
        <a:p>
          <a:endParaRPr lang="de-DE"/>
        </a:p>
      </dgm:t>
    </dgm:pt>
    <dgm:pt modelId="{5F5F62A4-5845-4D7D-8B37-8D6B9C970938}" type="sibTrans" cxnId="{AC40C63E-A62E-4456-A940-1086D86693F2}">
      <dgm:prSet/>
      <dgm:spPr/>
      <dgm:t>
        <a:bodyPr/>
        <a:lstStyle/>
        <a:p>
          <a:endParaRPr lang="de-DE"/>
        </a:p>
      </dgm:t>
    </dgm:pt>
    <dgm:pt modelId="{C992BF9B-F5DF-4A67-8489-32293F488764}">
      <dgm:prSet phldrT="[Text]" custT="1"/>
      <dgm:spPr/>
      <dgm:t>
        <a:bodyPr/>
        <a:lstStyle/>
        <a:p>
          <a:r>
            <a:rPr lang="de-DE" sz="1400" dirty="0"/>
            <a:t>Anzahl der Schichten</a:t>
          </a:r>
        </a:p>
      </dgm:t>
    </dgm:pt>
    <dgm:pt modelId="{6EA3391F-B4FB-4CFE-9E82-43852D2CDA63}" type="parTrans" cxnId="{C1F42D73-46AB-43A3-B31E-7650C24DC060}">
      <dgm:prSet/>
      <dgm:spPr/>
      <dgm:t>
        <a:bodyPr/>
        <a:lstStyle/>
        <a:p>
          <a:endParaRPr lang="de-DE"/>
        </a:p>
      </dgm:t>
    </dgm:pt>
    <dgm:pt modelId="{CDBB932F-E68B-4032-9628-8FD4DFF37A6D}" type="sibTrans" cxnId="{C1F42D73-46AB-43A3-B31E-7650C24DC060}">
      <dgm:prSet/>
      <dgm:spPr/>
      <dgm:t>
        <a:bodyPr/>
        <a:lstStyle/>
        <a:p>
          <a:endParaRPr lang="de-DE"/>
        </a:p>
      </dgm:t>
    </dgm:pt>
    <dgm:pt modelId="{84EFE87B-7342-4652-83C4-61FE8B845FF7}">
      <dgm:prSet phldrT="[Text]" custT="1"/>
      <dgm:spPr/>
      <dgm:t>
        <a:bodyPr/>
        <a:lstStyle/>
        <a:p>
          <a:r>
            <a:rPr lang="de-DE" sz="1400" dirty="0"/>
            <a:t>Typ der Schichten</a:t>
          </a:r>
        </a:p>
      </dgm:t>
    </dgm:pt>
    <dgm:pt modelId="{0BA49E36-C4A2-44CF-8369-14E8BF94F6B4}" type="parTrans" cxnId="{69CB778E-8F28-4976-A6E2-2F56E2AB1074}">
      <dgm:prSet/>
      <dgm:spPr/>
      <dgm:t>
        <a:bodyPr/>
        <a:lstStyle/>
        <a:p>
          <a:endParaRPr lang="de-DE"/>
        </a:p>
      </dgm:t>
    </dgm:pt>
    <dgm:pt modelId="{95027CCA-0E4A-4E64-AB0F-704BA3CF558E}" type="sibTrans" cxnId="{69CB778E-8F28-4976-A6E2-2F56E2AB1074}">
      <dgm:prSet/>
      <dgm:spPr/>
      <dgm:t>
        <a:bodyPr/>
        <a:lstStyle/>
        <a:p>
          <a:endParaRPr lang="de-DE"/>
        </a:p>
      </dgm:t>
    </dgm:pt>
    <dgm:pt modelId="{1B226A70-8804-47CB-BBB4-09F55732B0E9}">
      <dgm:prSet phldrT="[Text]" custT="1"/>
      <dgm:spPr/>
      <dgm:t>
        <a:bodyPr/>
        <a:lstStyle/>
        <a:p>
          <a:r>
            <a:rPr lang="de-DE" sz="1400" dirty="0"/>
            <a:t>Art der Aktivierung</a:t>
          </a:r>
        </a:p>
      </dgm:t>
    </dgm:pt>
    <dgm:pt modelId="{DF5905AB-9E9A-4ACE-94E8-F0301A413D55}" type="parTrans" cxnId="{A164FB7B-8CEF-495B-A0A0-5C6408DD9A6B}">
      <dgm:prSet/>
      <dgm:spPr/>
      <dgm:t>
        <a:bodyPr/>
        <a:lstStyle/>
        <a:p>
          <a:endParaRPr lang="de-DE"/>
        </a:p>
      </dgm:t>
    </dgm:pt>
    <dgm:pt modelId="{D61B6B44-2914-453B-88EC-9067F7955B79}" type="sibTrans" cxnId="{A164FB7B-8CEF-495B-A0A0-5C6408DD9A6B}">
      <dgm:prSet/>
      <dgm:spPr/>
      <dgm:t>
        <a:bodyPr/>
        <a:lstStyle/>
        <a:p>
          <a:endParaRPr lang="de-DE"/>
        </a:p>
      </dgm:t>
    </dgm:pt>
    <dgm:pt modelId="{5D62F6B2-779A-4555-9EEF-3D6BBE9BA67D}">
      <dgm:prSet phldrT="[Text]" custT="1"/>
      <dgm:spPr/>
      <dgm:t>
        <a:bodyPr/>
        <a:lstStyle/>
        <a:p>
          <a:r>
            <a:rPr lang="de-DE" sz="1400" dirty="0"/>
            <a:t>Anzahl der Neuronen pro Schicht</a:t>
          </a:r>
        </a:p>
      </dgm:t>
    </dgm:pt>
    <dgm:pt modelId="{9C718D8F-4249-40F0-8924-CAE292BD8134}" type="parTrans" cxnId="{B0F16946-BC3F-4356-952A-772D505A9A4C}">
      <dgm:prSet/>
      <dgm:spPr/>
      <dgm:t>
        <a:bodyPr/>
        <a:lstStyle/>
        <a:p>
          <a:endParaRPr lang="de-DE"/>
        </a:p>
      </dgm:t>
    </dgm:pt>
    <dgm:pt modelId="{38CC95CE-948F-4E74-8EEE-18F5432BD95F}" type="sibTrans" cxnId="{B0F16946-BC3F-4356-952A-772D505A9A4C}">
      <dgm:prSet/>
      <dgm:spPr/>
      <dgm:t>
        <a:bodyPr/>
        <a:lstStyle/>
        <a:p>
          <a:endParaRPr lang="de-DE"/>
        </a:p>
      </dgm:t>
    </dgm:pt>
    <dgm:pt modelId="{81C23169-FAEF-4BDE-A069-966731337945}">
      <dgm:prSet phldrT="[Text]" custT="1"/>
      <dgm:spPr/>
      <dgm:t>
        <a:bodyPr/>
        <a:lstStyle/>
        <a:p>
          <a:r>
            <a:rPr lang="de-DE" sz="1400" dirty="0"/>
            <a:t>Festlegung der Hyperparameter</a:t>
          </a:r>
        </a:p>
      </dgm:t>
    </dgm:pt>
    <dgm:pt modelId="{4D713B38-D43B-4F2C-A6F0-08C7AA4D3370}" type="parTrans" cxnId="{F50F42C3-DEAE-4D93-BB7D-AA872192B9C4}">
      <dgm:prSet/>
      <dgm:spPr/>
      <dgm:t>
        <a:bodyPr/>
        <a:lstStyle/>
        <a:p>
          <a:endParaRPr lang="de-DE"/>
        </a:p>
      </dgm:t>
    </dgm:pt>
    <dgm:pt modelId="{C1ACA79D-2AFE-4BC8-B567-0EF8554B02A5}" type="sibTrans" cxnId="{F50F42C3-DEAE-4D93-BB7D-AA872192B9C4}">
      <dgm:prSet/>
      <dgm:spPr/>
      <dgm:t>
        <a:bodyPr/>
        <a:lstStyle/>
        <a:p>
          <a:endParaRPr lang="de-DE"/>
        </a:p>
      </dgm:t>
    </dgm:pt>
    <dgm:pt modelId="{7F15262A-DA1E-4F75-AF5C-40C854D60A85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r Verlustfunktion</a:t>
          </a:r>
        </a:p>
      </dgm:t>
    </dgm:pt>
    <dgm:pt modelId="{5DBBA9DE-11F2-4301-93EF-CE04C19F8E9A}" type="parTrans" cxnId="{50261516-879C-4FEF-BF6D-0D60F97B5456}">
      <dgm:prSet/>
      <dgm:spPr/>
      <dgm:t>
        <a:bodyPr/>
        <a:lstStyle/>
        <a:p>
          <a:endParaRPr lang="de-DE"/>
        </a:p>
      </dgm:t>
    </dgm:pt>
    <dgm:pt modelId="{56EB540A-6D2D-4554-A09B-585773FCE023}" type="sibTrans" cxnId="{50261516-879C-4FEF-BF6D-0D60F97B5456}">
      <dgm:prSet/>
      <dgm:spPr/>
      <dgm:t>
        <a:bodyPr/>
        <a:lstStyle/>
        <a:p>
          <a:endParaRPr lang="de-DE"/>
        </a:p>
      </dgm:t>
    </dgm:pt>
    <dgm:pt modelId="{5DD3229C-C5DD-4A39-AC85-FB71E89C71F2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r Epochen</a:t>
          </a:r>
        </a:p>
      </dgm:t>
    </dgm:pt>
    <dgm:pt modelId="{9C51C98F-DDD3-443E-95F7-8A866A8AE0A9}" type="parTrans" cxnId="{2E51088B-9FAB-41AA-87BD-E10362056E67}">
      <dgm:prSet/>
      <dgm:spPr/>
      <dgm:t>
        <a:bodyPr/>
        <a:lstStyle/>
        <a:p>
          <a:endParaRPr lang="de-DE"/>
        </a:p>
      </dgm:t>
    </dgm:pt>
    <dgm:pt modelId="{12C8C82F-35DD-4E7C-A589-52CE46109E46}" type="sibTrans" cxnId="{2E51088B-9FAB-41AA-87BD-E10362056E67}">
      <dgm:prSet/>
      <dgm:spPr/>
      <dgm:t>
        <a:bodyPr/>
        <a:lstStyle/>
        <a:p>
          <a:endParaRPr lang="de-DE"/>
        </a:p>
      </dgm:t>
    </dgm:pt>
    <dgm:pt modelId="{92597F4D-A44C-4CC4-A379-3C95A7F5E23C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s Optimierungsmechanismus</a:t>
          </a:r>
        </a:p>
      </dgm:t>
    </dgm:pt>
    <dgm:pt modelId="{4025FE31-87D2-40C4-B673-01263BBE517A}" type="parTrans" cxnId="{19EAB137-E2DE-48AA-9153-4A0EC6740EE9}">
      <dgm:prSet/>
      <dgm:spPr/>
      <dgm:t>
        <a:bodyPr/>
        <a:lstStyle/>
        <a:p>
          <a:endParaRPr lang="de-DE"/>
        </a:p>
      </dgm:t>
    </dgm:pt>
    <dgm:pt modelId="{B7649C1B-6D88-4604-82EF-4DDB46E25CA8}" type="sibTrans" cxnId="{19EAB137-E2DE-48AA-9153-4A0EC6740EE9}">
      <dgm:prSet/>
      <dgm:spPr/>
      <dgm:t>
        <a:bodyPr/>
        <a:lstStyle/>
        <a:p>
          <a:endParaRPr lang="de-DE"/>
        </a:p>
      </dgm:t>
    </dgm:pt>
    <dgm:pt modelId="{BE3B2D11-EB8B-471B-A7DC-502504D9C8F1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/>
            <a:t>Wahl der Parameter des Optimierungsmechanismus</a:t>
          </a:r>
          <a:endParaRPr lang="de-DE" sz="1400" dirty="0"/>
        </a:p>
      </dgm:t>
    </dgm:pt>
    <dgm:pt modelId="{7D43578C-E5F9-4B56-8FFA-B1DEC8A62CED}" type="parTrans" cxnId="{91DB1952-6F61-46B1-AA6D-EEF8FD212429}">
      <dgm:prSet/>
      <dgm:spPr/>
      <dgm:t>
        <a:bodyPr/>
        <a:lstStyle/>
        <a:p>
          <a:endParaRPr lang="de-DE"/>
        </a:p>
      </dgm:t>
    </dgm:pt>
    <dgm:pt modelId="{FE4A7049-02FF-4273-86C0-6C8EA8B40CEE}" type="sibTrans" cxnId="{91DB1952-6F61-46B1-AA6D-EEF8FD212429}">
      <dgm:prSet/>
      <dgm:spPr/>
      <dgm:t>
        <a:bodyPr/>
        <a:lstStyle/>
        <a:p>
          <a:endParaRPr lang="de-DE"/>
        </a:p>
      </dgm:t>
    </dgm:pt>
    <dgm:pt modelId="{4C84E1FB-F406-4664-A669-0CDE3BBD5BA0}" type="pres">
      <dgm:prSet presAssocID="{2ABBB57F-1732-4FA3-A876-8CB78B7C7083}" presName="linear" presStyleCnt="0">
        <dgm:presLayoutVars>
          <dgm:animLvl val="lvl"/>
          <dgm:resizeHandles val="exact"/>
        </dgm:presLayoutVars>
      </dgm:prSet>
      <dgm:spPr/>
    </dgm:pt>
    <dgm:pt modelId="{C328561F-3389-4EF8-A729-05D8C9BACB36}" type="pres">
      <dgm:prSet presAssocID="{82B203FF-C5C8-40CC-84F2-DEC2CD2276DF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627FE9A7-F57C-418C-814B-8629F18B4596}" type="pres">
      <dgm:prSet presAssocID="{82B203FF-C5C8-40CC-84F2-DEC2CD2276DF}" presName="childText" presStyleLbl="revTx" presStyleIdx="0" presStyleCnt="4">
        <dgm:presLayoutVars>
          <dgm:bulletEnabled val="1"/>
        </dgm:presLayoutVars>
      </dgm:prSet>
      <dgm:spPr/>
    </dgm:pt>
    <dgm:pt modelId="{FF5983FE-E4DE-4E57-AAD4-E6C799C9C3AA}" type="pres">
      <dgm:prSet presAssocID="{0E84909A-C494-4C20-93A1-8C98E8666A39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9477F54-E1FB-47C5-89CE-3DA20E89F061}" type="pres">
      <dgm:prSet presAssocID="{0E84909A-C494-4C20-93A1-8C98E8666A39}" presName="childText" presStyleLbl="revTx" presStyleIdx="1" presStyleCnt="4">
        <dgm:presLayoutVars>
          <dgm:bulletEnabled val="1"/>
        </dgm:presLayoutVars>
      </dgm:prSet>
      <dgm:spPr/>
    </dgm:pt>
    <dgm:pt modelId="{733F7779-83BA-4DAE-BCFA-18BC404F6FA0}" type="pres">
      <dgm:prSet presAssocID="{44ECAD65-1697-4C5D-B562-6E679A8F2893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05ABDD20-A1EA-4974-B05F-0EC19E638766}" type="pres">
      <dgm:prSet presAssocID="{44ECAD65-1697-4C5D-B562-6E679A8F2893}" presName="childText" presStyleLbl="revTx" presStyleIdx="2" presStyleCnt="4">
        <dgm:presLayoutVars>
          <dgm:bulletEnabled val="1"/>
        </dgm:presLayoutVars>
      </dgm:prSet>
      <dgm:spPr/>
    </dgm:pt>
    <dgm:pt modelId="{ABB4A065-1986-433F-9690-CAC2A70B2D57}" type="pres">
      <dgm:prSet presAssocID="{81C23169-FAEF-4BDE-A069-966731337945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1F1668FF-B4F3-4071-B1F3-F96CF274091A}" type="pres">
      <dgm:prSet presAssocID="{81C23169-FAEF-4BDE-A069-966731337945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E10BFA04-10BF-4F7E-B869-71321779B465}" type="presOf" srcId="{82B203FF-C5C8-40CC-84F2-DEC2CD2276DF}" destId="{C328561F-3389-4EF8-A729-05D8C9BACB36}" srcOrd="0" destOrd="0" presId="urn:microsoft.com/office/officeart/2005/8/layout/vList2"/>
    <dgm:cxn modelId="{D4039B09-547C-454A-97C7-53E71AE0F734}" type="presOf" srcId="{F71ACEB4-4B5C-498A-911D-A9435AA10741}" destId="{F9477F54-E1FB-47C5-89CE-3DA20E89F061}" srcOrd="0" destOrd="0" presId="urn:microsoft.com/office/officeart/2005/8/layout/vList2"/>
    <dgm:cxn modelId="{7F59590C-A3AD-473B-BBE1-7BAC0402E92D}" type="presOf" srcId="{1B226A70-8804-47CB-BBB4-09F55732B0E9}" destId="{05ABDD20-A1EA-4974-B05F-0EC19E638766}" srcOrd="0" destOrd="2" presId="urn:microsoft.com/office/officeart/2005/8/layout/vList2"/>
    <dgm:cxn modelId="{F38B6713-3359-484E-987D-E1BB338E5031}" type="presOf" srcId="{92597F4D-A44C-4CC4-A379-3C95A7F5E23C}" destId="{1F1668FF-B4F3-4071-B1F3-F96CF274091A}" srcOrd="0" destOrd="2" presId="urn:microsoft.com/office/officeart/2005/8/layout/vList2"/>
    <dgm:cxn modelId="{50261516-879C-4FEF-BF6D-0D60F97B5456}" srcId="{81C23169-FAEF-4BDE-A069-966731337945}" destId="{7F15262A-DA1E-4F75-AF5C-40C854D60A85}" srcOrd="0" destOrd="0" parTransId="{5DBBA9DE-11F2-4301-93EF-CE04C19F8E9A}" sibTransId="{56EB540A-6D2D-4554-A09B-585773FCE023}"/>
    <dgm:cxn modelId="{680D431B-2412-4227-A131-4A18862698AD}" type="presOf" srcId="{D5CEBF60-33A4-41FE-8B46-D24E77BA0543}" destId="{627FE9A7-F57C-418C-814B-8629F18B4596}" srcOrd="0" destOrd="0" presId="urn:microsoft.com/office/officeart/2005/8/layout/vList2"/>
    <dgm:cxn modelId="{82DEBE24-7317-4A42-B72B-189344B89A98}" type="presOf" srcId="{2ABBB57F-1732-4FA3-A876-8CB78B7C7083}" destId="{4C84E1FB-F406-4664-A669-0CDE3BBD5BA0}" srcOrd="0" destOrd="0" presId="urn:microsoft.com/office/officeart/2005/8/layout/vList2"/>
    <dgm:cxn modelId="{19EAB137-E2DE-48AA-9153-4A0EC6740EE9}" srcId="{81C23169-FAEF-4BDE-A069-966731337945}" destId="{92597F4D-A44C-4CC4-A379-3C95A7F5E23C}" srcOrd="2" destOrd="0" parTransId="{4025FE31-87D2-40C4-B673-01263BBE517A}" sibTransId="{B7649C1B-6D88-4604-82EF-4DDB46E25CA8}"/>
    <dgm:cxn modelId="{5A17DE37-9763-4DCA-9593-D630ED420338}" type="presOf" srcId="{5DD3229C-C5DD-4A39-AC85-FB71E89C71F2}" destId="{1F1668FF-B4F3-4071-B1F3-F96CF274091A}" srcOrd="0" destOrd="1" presId="urn:microsoft.com/office/officeart/2005/8/layout/vList2"/>
    <dgm:cxn modelId="{3D05153E-0B27-4ACC-A912-52746F6912FD}" type="presOf" srcId="{0E84909A-C494-4C20-93A1-8C98E8666A39}" destId="{FF5983FE-E4DE-4E57-AAD4-E6C799C9C3AA}" srcOrd="0" destOrd="0" presId="urn:microsoft.com/office/officeart/2005/8/layout/vList2"/>
    <dgm:cxn modelId="{AC40C63E-A62E-4456-A940-1086D86693F2}" srcId="{2ABBB57F-1732-4FA3-A876-8CB78B7C7083}" destId="{44ECAD65-1697-4C5D-B562-6E679A8F2893}" srcOrd="2" destOrd="0" parTransId="{A60CA8B5-0168-42CE-B8A3-C3CABA75901F}" sibTransId="{5F5F62A4-5845-4D7D-8B37-8D6B9C970938}"/>
    <dgm:cxn modelId="{582F5061-317B-48FE-9458-76EFC259B0CF}" type="presOf" srcId="{84EFE87B-7342-4652-83C4-61FE8B845FF7}" destId="{05ABDD20-A1EA-4974-B05F-0EC19E638766}" srcOrd="0" destOrd="1" presId="urn:microsoft.com/office/officeart/2005/8/layout/vList2"/>
    <dgm:cxn modelId="{B0F16946-BC3F-4356-952A-772D505A9A4C}" srcId="{44ECAD65-1697-4C5D-B562-6E679A8F2893}" destId="{5D62F6B2-779A-4555-9EEF-3D6BBE9BA67D}" srcOrd="3" destOrd="0" parTransId="{9C718D8F-4249-40F0-8924-CAE292BD8134}" sibTransId="{38CC95CE-948F-4E74-8EEE-18F5432BD95F}"/>
    <dgm:cxn modelId="{91DB1952-6F61-46B1-AA6D-EEF8FD212429}" srcId="{81C23169-FAEF-4BDE-A069-966731337945}" destId="{BE3B2D11-EB8B-471B-A7DC-502504D9C8F1}" srcOrd="3" destOrd="0" parTransId="{7D43578C-E5F9-4B56-8FFA-B1DEC8A62CED}" sibTransId="{FE4A7049-02FF-4273-86C0-6C8EA8B40CEE}"/>
    <dgm:cxn modelId="{FE8E6352-A2A0-4B0D-9FBD-2750D893523B}" srcId="{0E84909A-C494-4C20-93A1-8C98E8666A39}" destId="{7874D0C4-8F14-4D0D-A6E3-A0823C2D32B6}" srcOrd="1" destOrd="0" parTransId="{4CF5C90A-380F-49C9-AE2C-A2DF5B3D2862}" sibTransId="{D003E0C1-FB9D-4F1E-8714-2E8846B79D9A}"/>
    <dgm:cxn modelId="{C1F42D73-46AB-43A3-B31E-7650C24DC060}" srcId="{44ECAD65-1697-4C5D-B562-6E679A8F2893}" destId="{C992BF9B-F5DF-4A67-8489-32293F488764}" srcOrd="0" destOrd="0" parTransId="{6EA3391F-B4FB-4CFE-9E82-43852D2CDA63}" sibTransId="{CDBB932F-E68B-4032-9628-8FD4DFF37A6D}"/>
    <dgm:cxn modelId="{A04EFE56-B951-4BDF-BCCF-0320F95F94ED}" srcId="{0E84909A-C494-4C20-93A1-8C98E8666A39}" destId="{F71ACEB4-4B5C-498A-911D-A9435AA10741}" srcOrd="0" destOrd="0" parTransId="{A632CA68-8ED0-4F1B-A322-B63B54E50BAC}" sibTransId="{4C38089B-5FD9-467D-87AB-F194BC6FCC37}"/>
    <dgm:cxn modelId="{C8204C77-EC8D-416B-AADB-467166ECC10B}" type="presOf" srcId="{44ECAD65-1697-4C5D-B562-6E679A8F2893}" destId="{733F7779-83BA-4DAE-BCFA-18BC404F6FA0}" srcOrd="0" destOrd="0" presId="urn:microsoft.com/office/officeart/2005/8/layout/vList2"/>
    <dgm:cxn modelId="{A164FB7B-8CEF-495B-A0A0-5C6408DD9A6B}" srcId="{44ECAD65-1697-4C5D-B562-6E679A8F2893}" destId="{1B226A70-8804-47CB-BBB4-09F55732B0E9}" srcOrd="2" destOrd="0" parTransId="{DF5905AB-9E9A-4ACE-94E8-F0301A413D55}" sibTransId="{D61B6B44-2914-453B-88EC-9067F7955B79}"/>
    <dgm:cxn modelId="{2E51088B-9FAB-41AA-87BD-E10362056E67}" srcId="{81C23169-FAEF-4BDE-A069-966731337945}" destId="{5DD3229C-C5DD-4A39-AC85-FB71E89C71F2}" srcOrd="1" destOrd="0" parTransId="{9C51C98F-DDD3-443E-95F7-8A866A8AE0A9}" sibTransId="{12C8C82F-35DD-4E7C-A589-52CE46109E46}"/>
    <dgm:cxn modelId="{69CB778E-8F28-4976-A6E2-2F56E2AB1074}" srcId="{44ECAD65-1697-4C5D-B562-6E679A8F2893}" destId="{84EFE87B-7342-4652-83C4-61FE8B845FF7}" srcOrd="1" destOrd="0" parTransId="{0BA49E36-C4A2-44CF-8369-14E8BF94F6B4}" sibTransId="{95027CCA-0E4A-4E64-AB0F-704BA3CF558E}"/>
    <dgm:cxn modelId="{EC580993-FDEA-4C53-AA05-CCFCABC9392D}" type="presOf" srcId="{7F15262A-DA1E-4F75-AF5C-40C854D60A85}" destId="{1F1668FF-B4F3-4071-B1F3-F96CF274091A}" srcOrd="0" destOrd="0" presId="urn:microsoft.com/office/officeart/2005/8/layout/vList2"/>
    <dgm:cxn modelId="{24B303B5-6CCF-4750-BD2A-498C4510C2EC}" type="presOf" srcId="{81C23169-FAEF-4BDE-A069-966731337945}" destId="{ABB4A065-1986-433F-9690-CAC2A70B2D57}" srcOrd="0" destOrd="0" presId="urn:microsoft.com/office/officeart/2005/8/layout/vList2"/>
    <dgm:cxn modelId="{F50F42C3-DEAE-4D93-BB7D-AA872192B9C4}" srcId="{2ABBB57F-1732-4FA3-A876-8CB78B7C7083}" destId="{81C23169-FAEF-4BDE-A069-966731337945}" srcOrd="3" destOrd="0" parTransId="{4D713B38-D43B-4F2C-A6F0-08C7AA4D3370}" sibTransId="{C1ACA79D-2AFE-4BC8-B567-0EF8554B02A5}"/>
    <dgm:cxn modelId="{31E9A9C8-BF9A-4388-B84F-4B882F30A9D8}" srcId="{2ABBB57F-1732-4FA3-A876-8CB78B7C7083}" destId="{82B203FF-C5C8-40CC-84F2-DEC2CD2276DF}" srcOrd="0" destOrd="0" parTransId="{787E06A3-FFE7-4AB2-A8E4-AB339300753A}" sibTransId="{6214A214-738C-4E41-AEC9-52578E356B70}"/>
    <dgm:cxn modelId="{2D97FCD8-5F90-44F8-A6A4-65486C470621}" srcId="{82B203FF-C5C8-40CC-84F2-DEC2CD2276DF}" destId="{D5CEBF60-33A4-41FE-8B46-D24E77BA0543}" srcOrd="0" destOrd="0" parTransId="{A7DACED2-4D39-4496-A727-B86E371D7662}" sibTransId="{B9F47839-0E49-40F6-925B-9C3CEF9B85D7}"/>
    <dgm:cxn modelId="{89C306DF-83AA-4256-A022-35ECFD94C515}" type="presOf" srcId="{5D62F6B2-779A-4555-9EEF-3D6BBE9BA67D}" destId="{05ABDD20-A1EA-4974-B05F-0EC19E638766}" srcOrd="0" destOrd="3" presId="urn:microsoft.com/office/officeart/2005/8/layout/vList2"/>
    <dgm:cxn modelId="{1CAA2CE0-A974-4295-AD62-F983D73A4F29}" type="presOf" srcId="{C992BF9B-F5DF-4A67-8489-32293F488764}" destId="{05ABDD20-A1EA-4974-B05F-0EC19E638766}" srcOrd="0" destOrd="0" presId="urn:microsoft.com/office/officeart/2005/8/layout/vList2"/>
    <dgm:cxn modelId="{A8FFBDE6-42C0-4DC9-A00A-6481B300BE67}" type="presOf" srcId="{BE3B2D11-EB8B-471B-A7DC-502504D9C8F1}" destId="{1F1668FF-B4F3-4071-B1F3-F96CF274091A}" srcOrd="0" destOrd="3" presId="urn:microsoft.com/office/officeart/2005/8/layout/vList2"/>
    <dgm:cxn modelId="{32B9B3E8-2B33-474F-BB24-C4861D53E7EE}" srcId="{2ABBB57F-1732-4FA3-A876-8CB78B7C7083}" destId="{0E84909A-C494-4C20-93A1-8C98E8666A39}" srcOrd="1" destOrd="0" parTransId="{71BF0461-DC0D-436B-8580-330EC939315A}" sibTransId="{6D49113F-F609-4566-8016-69FAC31BAD68}"/>
    <dgm:cxn modelId="{6AE44BF9-73C0-4AD2-9722-619D100C30E7}" type="presOf" srcId="{7874D0C4-8F14-4D0D-A6E3-A0823C2D32B6}" destId="{F9477F54-E1FB-47C5-89CE-3DA20E89F061}" srcOrd="0" destOrd="1" presId="urn:microsoft.com/office/officeart/2005/8/layout/vList2"/>
    <dgm:cxn modelId="{44F49261-0F68-4340-8D0C-5BC8587466D3}" type="presParOf" srcId="{4C84E1FB-F406-4664-A669-0CDE3BBD5BA0}" destId="{C328561F-3389-4EF8-A729-05D8C9BACB36}" srcOrd="0" destOrd="0" presId="urn:microsoft.com/office/officeart/2005/8/layout/vList2"/>
    <dgm:cxn modelId="{33E768DC-03A9-4F97-948D-07F6738AF5A8}" type="presParOf" srcId="{4C84E1FB-F406-4664-A669-0CDE3BBD5BA0}" destId="{627FE9A7-F57C-418C-814B-8629F18B4596}" srcOrd="1" destOrd="0" presId="urn:microsoft.com/office/officeart/2005/8/layout/vList2"/>
    <dgm:cxn modelId="{D3789D04-C279-4B91-B8B1-33BE219A626A}" type="presParOf" srcId="{4C84E1FB-F406-4664-A669-0CDE3BBD5BA0}" destId="{FF5983FE-E4DE-4E57-AAD4-E6C799C9C3AA}" srcOrd="2" destOrd="0" presId="urn:microsoft.com/office/officeart/2005/8/layout/vList2"/>
    <dgm:cxn modelId="{A3C3E3D0-A856-4368-A166-2CC15AC92CDF}" type="presParOf" srcId="{4C84E1FB-F406-4664-A669-0CDE3BBD5BA0}" destId="{F9477F54-E1FB-47C5-89CE-3DA20E89F061}" srcOrd="3" destOrd="0" presId="urn:microsoft.com/office/officeart/2005/8/layout/vList2"/>
    <dgm:cxn modelId="{135E2765-83A0-4CD5-AB3F-CDCC73ECA3DC}" type="presParOf" srcId="{4C84E1FB-F406-4664-A669-0CDE3BBD5BA0}" destId="{733F7779-83BA-4DAE-BCFA-18BC404F6FA0}" srcOrd="4" destOrd="0" presId="urn:microsoft.com/office/officeart/2005/8/layout/vList2"/>
    <dgm:cxn modelId="{94F50165-3763-46BE-A0D6-5F1F00107404}" type="presParOf" srcId="{4C84E1FB-F406-4664-A669-0CDE3BBD5BA0}" destId="{05ABDD20-A1EA-4974-B05F-0EC19E638766}" srcOrd="5" destOrd="0" presId="urn:microsoft.com/office/officeart/2005/8/layout/vList2"/>
    <dgm:cxn modelId="{5FBDC89D-6694-4134-BE22-8AC2B1F0701C}" type="presParOf" srcId="{4C84E1FB-F406-4664-A669-0CDE3BBD5BA0}" destId="{ABB4A065-1986-433F-9690-CAC2A70B2D57}" srcOrd="6" destOrd="0" presId="urn:microsoft.com/office/officeart/2005/8/layout/vList2"/>
    <dgm:cxn modelId="{1C249692-0C33-42C6-B78C-94F80A42C905}" type="presParOf" srcId="{4C84E1FB-F406-4664-A669-0CDE3BBD5BA0}" destId="{1F1668FF-B4F3-4071-B1F3-F96CF274091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2F2387A-8212-4125-B3CA-72B1FF6BD350}" type="doc">
      <dgm:prSet loTypeId="urn:microsoft.com/office/officeart/2005/8/layout/orgChart1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0FB00CCC-D1CF-4DDC-AFC8-86BACFD73BD7}">
      <dgm:prSet phldrT="[Text]"/>
      <dgm:spPr/>
      <dgm:t>
        <a:bodyPr/>
        <a:lstStyle/>
        <a:p>
          <a:r>
            <a:rPr lang="de-DE" b="1" dirty="0">
              <a:latin typeface="Arial" panose="020B0604020202020204" pitchFamily="34" charset="0"/>
              <a:cs typeface="Arial" panose="020B0604020202020204" pitchFamily="34" charset="0"/>
            </a:rPr>
            <a:t>Stichprobe</a:t>
          </a:r>
        </a:p>
      </dgm:t>
    </dgm:pt>
    <dgm:pt modelId="{8E8F5F05-D94B-40C1-A1BB-C7EFE585B068}" type="parTrans" cxnId="{84C4B503-7D7D-459F-8E12-BE5D7935FC4D}">
      <dgm:prSet/>
      <dgm:spPr/>
      <dgm:t>
        <a:bodyPr/>
        <a:lstStyle/>
        <a:p>
          <a:endParaRPr lang="de-DE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F74CBBF-F8E1-4C96-B92B-1BCBB2057984}" type="sibTrans" cxnId="{84C4B503-7D7D-459F-8E12-BE5D7935FC4D}">
      <dgm:prSet/>
      <dgm:spPr/>
      <dgm:t>
        <a:bodyPr/>
        <a:lstStyle/>
        <a:p>
          <a:endParaRPr lang="de-DE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F4330A-3FC2-4AFD-90B6-A34FBE9F35BE}">
      <dgm:prSet phldrT="[Text]"/>
      <dgm:spPr/>
      <dgm:t>
        <a:bodyPr/>
        <a:lstStyle/>
        <a:p>
          <a:r>
            <a:rPr lang="de-DE" b="1" dirty="0">
              <a:latin typeface="Arial" panose="020B0604020202020204" pitchFamily="34" charset="0"/>
              <a:cs typeface="Arial" panose="020B0604020202020204" pitchFamily="34" charset="0"/>
            </a:rPr>
            <a:t>Trainingsdaten</a:t>
          </a:r>
        </a:p>
      </dgm:t>
    </dgm:pt>
    <dgm:pt modelId="{84889F33-3596-4ED1-8693-7BEC01A70232}" type="parTrans" cxnId="{8AAEC8FC-4DE8-4BB4-A56E-AC6E0B92FA4B}">
      <dgm:prSet/>
      <dgm:spPr/>
      <dgm:t>
        <a:bodyPr/>
        <a:lstStyle/>
        <a:p>
          <a:endParaRPr lang="de-DE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AED957-17C2-4E6D-AD03-AF7DBF333FC3}" type="sibTrans" cxnId="{8AAEC8FC-4DE8-4BB4-A56E-AC6E0B92FA4B}">
      <dgm:prSet/>
      <dgm:spPr/>
      <dgm:t>
        <a:bodyPr/>
        <a:lstStyle/>
        <a:p>
          <a:endParaRPr lang="de-DE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BE5FF79-6AE6-442C-8C0A-412532C7AE23}">
      <dgm:prSet phldrT="[Text]"/>
      <dgm:spPr/>
      <dgm:t>
        <a:bodyPr/>
        <a:lstStyle/>
        <a:p>
          <a:r>
            <a:rPr lang="de-DE" b="1" dirty="0">
              <a:latin typeface="Arial" panose="020B0604020202020204" pitchFamily="34" charset="0"/>
              <a:cs typeface="Arial" panose="020B0604020202020204" pitchFamily="34" charset="0"/>
            </a:rPr>
            <a:t>Validierungsdaten</a:t>
          </a:r>
        </a:p>
      </dgm:t>
    </dgm:pt>
    <dgm:pt modelId="{76AA5032-BF56-4A21-B44E-82C4CCA96354}" type="parTrans" cxnId="{0395C9D4-2A88-4DA8-9FCB-B7316D2476A5}">
      <dgm:prSet/>
      <dgm:spPr/>
      <dgm:t>
        <a:bodyPr/>
        <a:lstStyle/>
        <a:p>
          <a:endParaRPr lang="de-DE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542CA62-6F41-48F2-B4C1-551B8268A14E}" type="sibTrans" cxnId="{0395C9D4-2A88-4DA8-9FCB-B7316D2476A5}">
      <dgm:prSet/>
      <dgm:spPr/>
      <dgm:t>
        <a:bodyPr/>
        <a:lstStyle/>
        <a:p>
          <a:endParaRPr lang="de-DE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430E72E-3A2F-4F8A-9A22-C9BD9341CA16}">
      <dgm:prSet phldrT="[Text]"/>
      <dgm:spPr/>
      <dgm:t>
        <a:bodyPr/>
        <a:lstStyle/>
        <a:p>
          <a:r>
            <a:rPr lang="de-DE" b="1" dirty="0">
              <a:latin typeface="Arial" panose="020B0604020202020204" pitchFamily="34" charset="0"/>
              <a:cs typeface="Arial" panose="020B0604020202020204" pitchFamily="34" charset="0"/>
            </a:rPr>
            <a:t>Testdaten</a:t>
          </a:r>
        </a:p>
      </dgm:t>
    </dgm:pt>
    <dgm:pt modelId="{0EE71D5B-2D75-4171-BBFD-A63F51276F99}" type="parTrans" cxnId="{1D2B1A48-F78A-447B-A526-4DF047CC9FBD}">
      <dgm:prSet/>
      <dgm:spPr/>
      <dgm:t>
        <a:bodyPr/>
        <a:lstStyle/>
        <a:p>
          <a:endParaRPr lang="de-DE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ED5B39E-643F-426F-8DCC-C63D85D7787C}" type="sibTrans" cxnId="{1D2B1A48-F78A-447B-A526-4DF047CC9FBD}">
      <dgm:prSet/>
      <dgm:spPr/>
      <dgm:t>
        <a:bodyPr/>
        <a:lstStyle/>
        <a:p>
          <a:endParaRPr lang="de-DE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3DF85C6-C38A-441E-86AF-4E0BF5E5CB3A}" type="pres">
      <dgm:prSet presAssocID="{F2F2387A-8212-4125-B3CA-72B1FF6BD35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33A536D-BAC4-4C7C-ADC9-F16846A880C6}" type="pres">
      <dgm:prSet presAssocID="{0FB00CCC-D1CF-4DDC-AFC8-86BACFD73BD7}" presName="hierRoot1" presStyleCnt="0">
        <dgm:presLayoutVars>
          <dgm:hierBranch val="init"/>
        </dgm:presLayoutVars>
      </dgm:prSet>
      <dgm:spPr/>
    </dgm:pt>
    <dgm:pt modelId="{0EFB9432-ED1F-45A2-9928-A8D5C620B7E1}" type="pres">
      <dgm:prSet presAssocID="{0FB00CCC-D1CF-4DDC-AFC8-86BACFD73BD7}" presName="rootComposite1" presStyleCnt="0"/>
      <dgm:spPr/>
    </dgm:pt>
    <dgm:pt modelId="{DBD2E148-7B22-43F2-A143-4FB60382D760}" type="pres">
      <dgm:prSet presAssocID="{0FB00CCC-D1CF-4DDC-AFC8-86BACFD73BD7}" presName="rootText1" presStyleLbl="node0" presStyleIdx="0" presStyleCnt="1">
        <dgm:presLayoutVars>
          <dgm:chPref val="3"/>
        </dgm:presLayoutVars>
      </dgm:prSet>
      <dgm:spPr/>
    </dgm:pt>
    <dgm:pt modelId="{018AFE12-7E2E-43DF-A902-8441F4662E13}" type="pres">
      <dgm:prSet presAssocID="{0FB00CCC-D1CF-4DDC-AFC8-86BACFD73BD7}" presName="rootConnector1" presStyleLbl="node1" presStyleIdx="0" presStyleCnt="0"/>
      <dgm:spPr/>
    </dgm:pt>
    <dgm:pt modelId="{E3DF6F36-FEB0-4402-991C-FBDAAA28BF36}" type="pres">
      <dgm:prSet presAssocID="{0FB00CCC-D1CF-4DDC-AFC8-86BACFD73BD7}" presName="hierChild2" presStyleCnt="0"/>
      <dgm:spPr/>
    </dgm:pt>
    <dgm:pt modelId="{2F28F4DC-B26C-4C81-9367-C93CB53E9246}" type="pres">
      <dgm:prSet presAssocID="{84889F33-3596-4ED1-8693-7BEC01A70232}" presName="Name37" presStyleLbl="parChTrans1D2" presStyleIdx="0" presStyleCnt="3"/>
      <dgm:spPr/>
    </dgm:pt>
    <dgm:pt modelId="{1782DD58-1416-4878-8615-78A37EFFCA88}" type="pres">
      <dgm:prSet presAssocID="{F6F4330A-3FC2-4AFD-90B6-A34FBE9F35BE}" presName="hierRoot2" presStyleCnt="0">
        <dgm:presLayoutVars>
          <dgm:hierBranch val="init"/>
        </dgm:presLayoutVars>
      </dgm:prSet>
      <dgm:spPr/>
    </dgm:pt>
    <dgm:pt modelId="{992FE351-CB25-41BB-A7FF-8E8447A2E8C6}" type="pres">
      <dgm:prSet presAssocID="{F6F4330A-3FC2-4AFD-90B6-A34FBE9F35BE}" presName="rootComposite" presStyleCnt="0"/>
      <dgm:spPr/>
    </dgm:pt>
    <dgm:pt modelId="{45966F68-C823-4EBB-B70C-3AF82F809D34}" type="pres">
      <dgm:prSet presAssocID="{F6F4330A-3FC2-4AFD-90B6-A34FBE9F35BE}" presName="rootText" presStyleLbl="node2" presStyleIdx="0" presStyleCnt="3">
        <dgm:presLayoutVars>
          <dgm:chPref val="3"/>
        </dgm:presLayoutVars>
      </dgm:prSet>
      <dgm:spPr/>
    </dgm:pt>
    <dgm:pt modelId="{4A316414-CE86-4E98-B4A6-88F63D2CC055}" type="pres">
      <dgm:prSet presAssocID="{F6F4330A-3FC2-4AFD-90B6-A34FBE9F35BE}" presName="rootConnector" presStyleLbl="node2" presStyleIdx="0" presStyleCnt="3"/>
      <dgm:spPr/>
    </dgm:pt>
    <dgm:pt modelId="{55771E39-4B49-4308-B3FC-3BFF949EC75A}" type="pres">
      <dgm:prSet presAssocID="{F6F4330A-3FC2-4AFD-90B6-A34FBE9F35BE}" presName="hierChild4" presStyleCnt="0"/>
      <dgm:spPr/>
    </dgm:pt>
    <dgm:pt modelId="{7CC462B4-50E5-48F6-B6E0-BC40D5AC85DB}" type="pres">
      <dgm:prSet presAssocID="{F6F4330A-3FC2-4AFD-90B6-A34FBE9F35BE}" presName="hierChild5" presStyleCnt="0"/>
      <dgm:spPr/>
    </dgm:pt>
    <dgm:pt modelId="{B128C0C1-347B-4CE8-858E-6DA329795236}" type="pres">
      <dgm:prSet presAssocID="{76AA5032-BF56-4A21-B44E-82C4CCA96354}" presName="Name37" presStyleLbl="parChTrans1D2" presStyleIdx="1" presStyleCnt="3"/>
      <dgm:spPr/>
    </dgm:pt>
    <dgm:pt modelId="{215205A9-CB67-4640-AB9F-098DA86696B6}" type="pres">
      <dgm:prSet presAssocID="{5BE5FF79-6AE6-442C-8C0A-412532C7AE23}" presName="hierRoot2" presStyleCnt="0">
        <dgm:presLayoutVars>
          <dgm:hierBranch val="init"/>
        </dgm:presLayoutVars>
      </dgm:prSet>
      <dgm:spPr/>
    </dgm:pt>
    <dgm:pt modelId="{10A64C02-8A23-42BD-8B6F-54B587CBA4C7}" type="pres">
      <dgm:prSet presAssocID="{5BE5FF79-6AE6-442C-8C0A-412532C7AE23}" presName="rootComposite" presStyleCnt="0"/>
      <dgm:spPr/>
    </dgm:pt>
    <dgm:pt modelId="{C5803DAF-3914-4C7F-BB76-5E6F5BBF9BA9}" type="pres">
      <dgm:prSet presAssocID="{5BE5FF79-6AE6-442C-8C0A-412532C7AE23}" presName="rootText" presStyleLbl="node2" presStyleIdx="1" presStyleCnt="3">
        <dgm:presLayoutVars>
          <dgm:chPref val="3"/>
        </dgm:presLayoutVars>
      </dgm:prSet>
      <dgm:spPr/>
    </dgm:pt>
    <dgm:pt modelId="{E522CAE6-5790-46D4-9FCF-6F713393B555}" type="pres">
      <dgm:prSet presAssocID="{5BE5FF79-6AE6-442C-8C0A-412532C7AE23}" presName="rootConnector" presStyleLbl="node2" presStyleIdx="1" presStyleCnt="3"/>
      <dgm:spPr/>
    </dgm:pt>
    <dgm:pt modelId="{B384BC8F-16D8-406F-A20D-E6B47D169177}" type="pres">
      <dgm:prSet presAssocID="{5BE5FF79-6AE6-442C-8C0A-412532C7AE23}" presName="hierChild4" presStyleCnt="0"/>
      <dgm:spPr/>
    </dgm:pt>
    <dgm:pt modelId="{F0B73C13-362A-4B34-B89D-C42B46F233E4}" type="pres">
      <dgm:prSet presAssocID="{5BE5FF79-6AE6-442C-8C0A-412532C7AE23}" presName="hierChild5" presStyleCnt="0"/>
      <dgm:spPr/>
    </dgm:pt>
    <dgm:pt modelId="{7E0FA1E5-2ECE-4A78-9081-AB7132B2AB27}" type="pres">
      <dgm:prSet presAssocID="{0EE71D5B-2D75-4171-BBFD-A63F51276F99}" presName="Name37" presStyleLbl="parChTrans1D2" presStyleIdx="2" presStyleCnt="3"/>
      <dgm:spPr/>
    </dgm:pt>
    <dgm:pt modelId="{0FCA5994-E132-4D5E-AC1D-47289CEFAD8A}" type="pres">
      <dgm:prSet presAssocID="{6430E72E-3A2F-4F8A-9A22-C9BD9341CA16}" presName="hierRoot2" presStyleCnt="0">
        <dgm:presLayoutVars>
          <dgm:hierBranch val="init"/>
        </dgm:presLayoutVars>
      </dgm:prSet>
      <dgm:spPr/>
    </dgm:pt>
    <dgm:pt modelId="{3A5E5E86-9116-4F03-8D51-73203D5AEC05}" type="pres">
      <dgm:prSet presAssocID="{6430E72E-3A2F-4F8A-9A22-C9BD9341CA16}" presName="rootComposite" presStyleCnt="0"/>
      <dgm:spPr/>
    </dgm:pt>
    <dgm:pt modelId="{F4BF42CA-D91D-4377-B89A-28331B59B398}" type="pres">
      <dgm:prSet presAssocID="{6430E72E-3A2F-4F8A-9A22-C9BD9341CA16}" presName="rootText" presStyleLbl="node2" presStyleIdx="2" presStyleCnt="3">
        <dgm:presLayoutVars>
          <dgm:chPref val="3"/>
        </dgm:presLayoutVars>
      </dgm:prSet>
      <dgm:spPr/>
    </dgm:pt>
    <dgm:pt modelId="{BB7C37DC-48A6-400B-A300-72C2430E8B56}" type="pres">
      <dgm:prSet presAssocID="{6430E72E-3A2F-4F8A-9A22-C9BD9341CA16}" presName="rootConnector" presStyleLbl="node2" presStyleIdx="2" presStyleCnt="3"/>
      <dgm:spPr/>
    </dgm:pt>
    <dgm:pt modelId="{3C54466D-B74E-4737-BD82-5DC384BE9D72}" type="pres">
      <dgm:prSet presAssocID="{6430E72E-3A2F-4F8A-9A22-C9BD9341CA16}" presName="hierChild4" presStyleCnt="0"/>
      <dgm:spPr/>
    </dgm:pt>
    <dgm:pt modelId="{CB246BEA-4541-4D0E-AA4E-9293EEAA8891}" type="pres">
      <dgm:prSet presAssocID="{6430E72E-3A2F-4F8A-9A22-C9BD9341CA16}" presName="hierChild5" presStyleCnt="0"/>
      <dgm:spPr/>
    </dgm:pt>
    <dgm:pt modelId="{419FD7AF-855B-490E-9BE2-31D1BE9B4ECF}" type="pres">
      <dgm:prSet presAssocID="{0FB00CCC-D1CF-4DDC-AFC8-86BACFD73BD7}" presName="hierChild3" presStyleCnt="0"/>
      <dgm:spPr/>
    </dgm:pt>
  </dgm:ptLst>
  <dgm:cxnLst>
    <dgm:cxn modelId="{D2838303-3DD3-443E-8422-BE03A700440D}" type="presOf" srcId="{F6F4330A-3FC2-4AFD-90B6-A34FBE9F35BE}" destId="{45966F68-C823-4EBB-B70C-3AF82F809D34}" srcOrd="0" destOrd="0" presId="urn:microsoft.com/office/officeart/2005/8/layout/orgChart1"/>
    <dgm:cxn modelId="{84C4B503-7D7D-459F-8E12-BE5D7935FC4D}" srcId="{F2F2387A-8212-4125-B3CA-72B1FF6BD350}" destId="{0FB00CCC-D1CF-4DDC-AFC8-86BACFD73BD7}" srcOrd="0" destOrd="0" parTransId="{8E8F5F05-D94B-40C1-A1BB-C7EFE585B068}" sibTransId="{5F74CBBF-F8E1-4C96-B92B-1BCBB2057984}"/>
    <dgm:cxn modelId="{DEB10E12-E7ED-4117-8100-EF7DA78E3748}" type="presOf" srcId="{0FB00CCC-D1CF-4DDC-AFC8-86BACFD73BD7}" destId="{DBD2E148-7B22-43F2-A143-4FB60382D760}" srcOrd="0" destOrd="0" presId="urn:microsoft.com/office/officeart/2005/8/layout/orgChart1"/>
    <dgm:cxn modelId="{E066191C-127E-468A-BF98-F360FA87C880}" type="presOf" srcId="{0EE71D5B-2D75-4171-BBFD-A63F51276F99}" destId="{7E0FA1E5-2ECE-4A78-9081-AB7132B2AB27}" srcOrd="0" destOrd="0" presId="urn:microsoft.com/office/officeart/2005/8/layout/orgChart1"/>
    <dgm:cxn modelId="{E1636437-89E0-4CDD-A352-12652B241FD9}" type="presOf" srcId="{0FB00CCC-D1CF-4DDC-AFC8-86BACFD73BD7}" destId="{018AFE12-7E2E-43DF-A902-8441F4662E13}" srcOrd="1" destOrd="0" presId="urn:microsoft.com/office/officeart/2005/8/layout/orgChart1"/>
    <dgm:cxn modelId="{1D2B1A48-F78A-447B-A526-4DF047CC9FBD}" srcId="{0FB00CCC-D1CF-4DDC-AFC8-86BACFD73BD7}" destId="{6430E72E-3A2F-4F8A-9A22-C9BD9341CA16}" srcOrd="2" destOrd="0" parTransId="{0EE71D5B-2D75-4171-BBFD-A63F51276F99}" sibTransId="{EED5B39E-643F-426F-8DCC-C63D85D7787C}"/>
    <dgm:cxn modelId="{F675216B-48D5-4285-AA91-D9C6E5F34FB3}" type="presOf" srcId="{F2F2387A-8212-4125-B3CA-72B1FF6BD350}" destId="{63DF85C6-C38A-441E-86AF-4E0BF5E5CB3A}" srcOrd="0" destOrd="0" presId="urn:microsoft.com/office/officeart/2005/8/layout/orgChart1"/>
    <dgm:cxn modelId="{A8D8E478-5376-4C80-957F-ED84CD0BA9A4}" type="presOf" srcId="{6430E72E-3A2F-4F8A-9A22-C9BD9341CA16}" destId="{BB7C37DC-48A6-400B-A300-72C2430E8B56}" srcOrd="1" destOrd="0" presId="urn:microsoft.com/office/officeart/2005/8/layout/orgChart1"/>
    <dgm:cxn modelId="{E0AA1BA8-7045-4D02-B688-AA9F2CE5DE46}" type="presOf" srcId="{84889F33-3596-4ED1-8693-7BEC01A70232}" destId="{2F28F4DC-B26C-4C81-9367-C93CB53E9246}" srcOrd="0" destOrd="0" presId="urn:microsoft.com/office/officeart/2005/8/layout/orgChart1"/>
    <dgm:cxn modelId="{67FD84A8-858F-42EA-BA12-C57F7C5960D7}" type="presOf" srcId="{5BE5FF79-6AE6-442C-8C0A-412532C7AE23}" destId="{E522CAE6-5790-46D4-9FCF-6F713393B555}" srcOrd="1" destOrd="0" presId="urn:microsoft.com/office/officeart/2005/8/layout/orgChart1"/>
    <dgm:cxn modelId="{3EE72CC8-054E-4111-BAE9-594B314165BB}" type="presOf" srcId="{6430E72E-3A2F-4F8A-9A22-C9BD9341CA16}" destId="{F4BF42CA-D91D-4377-B89A-28331B59B398}" srcOrd="0" destOrd="0" presId="urn:microsoft.com/office/officeart/2005/8/layout/orgChart1"/>
    <dgm:cxn modelId="{0395C9D4-2A88-4DA8-9FCB-B7316D2476A5}" srcId="{0FB00CCC-D1CF-4DDC-AFC8-86BACFD73BD7}" destId="{5BE5FF79-6AE6-442C-8C0A-412532C7AE23}" srcOrd="1" destOrd="0" parTransId="{76AA5032-BF56-4A21-B44E-82C4CCA96354}" sibTransId="{E542CA62-6F41-48F2-B4C1-551B8268A14E}"/>
    <dgm:cxn modelId="{E2DF28D5-3A41-44A6-9EDF-25B59A37C705}" type="presOf" srcId="{76AA5032-BF56-4A21-B44E-82C4CCA96354}" destId="{B128C0C1-347B-4CE8-858E-6DA329795236}" srcOrd="0" destOrd="0" presId="urn:microsoft.com/office/officeart/2005/8/layout/orgChart1"/>
    <dgm:cxn modelId="{9F5953E6-623E-4980-9387-D95E5EF1E98E}" type="presOf" srcId="{5BE5FF79-6AE6-442C-8C0A-412532C7AE23}" destId="{C5803DAF-3914-4C7F-BB76-5E6F5BBF9BA9}" srcOrd="0" destOrd="0" presId="urn:microsoft.com/office/officeart/2005/8/layout/orgChart1"/>
    <dgm:cxn modelId="{8AAEC8FC-4DE8-4BB4-A56E-AC6E0B92FA4B}" srcId="{0FB00CCC-D1CF-4DDC-AFC8-86BACFD73BD7}" destId="{F6F4330A-3FC2-4AFD-90B6-A34FBE9F35BE}" srcOrd="0" destOrd="0" parTransId="{84889F33-3596-4ED1-8693-7BEC01A70232}" sibTransId="{35AED957-17C2-4E6D-AD03-AF7DBF333FC3}"/>
    <dgm:cxn modelId="{1219E6FF-8D01-4BC9-B383-BE544CA9C7F8}" type="presOf" srcId="{F6F4330A-3FC2-4AFD-90B6-A34FBE9F35BE}" destId="{4A316414-CE86-4E98-B4A6-88F63D2CC055}" srcOrd="1" destOrd="0" presId="urn:microsoft.com/office/officeart/2005/8/layout/orgChart1"/>
    <dgm:cxn modelId="{A9571DE5-5A03-4724-B9F6-311F8B7B19D6}" type="presParOf" srcId="{63DF85C6-C38A-441E-86AF-4E0BF5E5CB3A}" destId="{033A536D-BAC4-4C7C-ADC9-F16846A880C6}" srcOrd="0" destOrd="0" presId="urn:microsoft.com/office/officeart/2005/8/layout/orgChart1"/>
    <dgm:cxn modelId="{7399551D-62CC-4D0F-960B-08C58B99889A}" type="presParOf" srcId="{033A536D-BAC4-4C7C-ADC9-F16846A880C6}" destId="{0EFB9432-ED1F-45A2-9928-A8D5C620B7E1}" srcOrd="0" destOrd="0" presId="urn:microsoft.com/office/officeart/2005/8/layout/orgChart1"/>
    <dgm:cxn modelId="{800D4AFF-026D-4332-8176-B20F811C439F}" type="presParOf" srcId="{0EFB9432-ED1F-45A2-9928-A8D5C620B7E1}" destId="{DBD2E148-7B22-43F2-A143-4FB60382D760}" srcOrd="0" destOrd="0" presId="urn:microsoft.com/office/officeart/2005/8/layout/orgChart1"/>
    <dgm:cxn modelId="{7FEF7609-E32C-4134-A58C-00ADD97A486E}" type="presParOf" srcId="{0EFB9432-ED1F-45A2-9928-A8D5C620B7E1}" destId="{018AFE12-7E2E-43DF-A902-8441F4662E13}" srcOrd="1" destOrd="0" presId="urn:microsoft.com/office/officeart/2005/8/layout/orgChart1"/>
    <dgm:cxn modelId="{E24FDEE8-21F5-4D1E-88C8-B7A14E39DD09}" type="presParOf" srcId="{033A536D-BAC4-4C7C-ADC9-F16846A880C6}" destId="{E3DF6F36-FEB0-4402-991C-FBDAAA28BF36}" srcOrd="1" destOrd="0" presId="urn:microsoft.com/office/officeart/2005/8/layout/orgChart1"/>
    <dgm:cxn modelId="{68737C9E-785D-4A5E-BBF5-BB0AEB4EABB1}" type="presParOf" srcId="{E3DF6F36-FEB0-4402-991C-FBDAAA28BF36}" destId="{2F28F4DC-B26C-4C81-9367-C93CB53E9246}" srcOrd="0" destOrd="0" presId="urn:microsoft.com/office/officeart/2005/8/layout/orgChart1"/>
    <dgm:cxn modelId="{A02D3B46-EB6B-4D56-8F2B-3F8AEDB302BD}" type="presParOf" srcId="{E3DF6F36-FEB0-4402-991C-FBDAAA28BF36}" destId="{1782DD58-1416-4878-8615-78A37EFFCA88}" srcOrd="1" destOrd="0" presId="urn:microsoft.com/office/officeart/2005/8/layout/orgChart1"/>
    <dgm:cxn modelId="{D57565CC-872E-4E0F-ACEA-74E4F861E42A}" type="presParOf" srcId="{1782DD58-1416-4878-8615-78A37EFFCA88}" destId="{992FE351-CB25-41BB-A7FF-8E8447A2E8C6}" srcOrd="0" destOrd="0" presId="urn:microsoft.com/office/officeart/2005/8/layout/orgChart1"/>
    <dgm:cxn modelId="{45FC26F0-D80A-4A28-8E7F-AC4644EC333C}" type="presParOf" srcId="{992FE351-CB25-41BB-A7FF-8E8447A2E8C6}" destId="{45966F68-C823-4EBB-B70C-3AF82F809D34}" srcOrd="0" destOrd="0" presId="urn:microsoft.com/office/officeart/2005/8/layout/orgChart1"/>
    <dgm:cxn modelId="{C8D87357-C53D-46C5-9670-FA4164C8A4DA}" type="presParOf" srcId="{992FE351-CB25-41BB-A7FF-8E8447A2E8C6}" destId="{4A316414-CE86-4E98-B4A6-88F63D2CC055}" srcOrd="1" destOrd="0" presId="urn:microsoft.com/office/officeart/2005/8/layout/orgChart1"/>
    <dgm:cxn modelId="{01F822AB-A322-4816-BA6F-A4A7C9B83437}" type="presParOf" srcId="{1782DD58-1416-4878-8615-78A37EFFCA88}" destId="{55771E39-4B49-4308-B3FC-3BFF949EC75A}" srcOrd="1" destOrd="0" presId="urn:microsoft.com/office/officeart/2005/8/layout/orgChart1"/>
    <dgm:cxn modelId="{E6BEE7B0-584E-4A81-AE40-E1E3B5F078C8}" type="presParOf" srcId="{1782DD58-1416-4878-8615-78A37EFFCA88}" destId="{7CC462B4-50E5-48F6-B6E0-BC40D5AC85DB}" srcOrd="2" destOrd="0" presId="urn:microsoft.com/office/officeart/2005/8/layout/orgChart1"/>
    <dgm:cxn modelId="{CE81E0A3-4AD9-486B-AED4-69CD27C704AB}" type="presParOf" srcId="{E3DF6F36-FEB0-4402-991C-FBDAAA28BF36}" destId="{B128C0C1-347B-4CE8-858E-6DA329795236}" srcOrd="2" destOrd="0" presId="urn:microsoft.com/office/officeart/2005/8/layout/orgChart1"/>
    <dgm:cxn modelId="{DD5B0ADF-0C9D-4754-A071-4833D20C4C66}" type="presParOf" srcId="{E3DF6F36-FEB0-4402-991C-FBDAAA28BF36}" destId="{215205A9-CB67-4640-AB9F-098DA86696B6}" srcOrd="3" destOrd="0" presId="urn:microsoft.com/office/officeart/2005/8/layout/orgChart1"/>
    <dgm:cxn modelId="{F0E648EF-7B75-44DA-8C37-6081DED67675}" type="presParOf" srcId="{215205A9-CB67-4640-AB9F-098DA86696B6}" destId="{10A64C02-8A23-42BD-8B6F-54B587CBA4C7}" srcOrd="0" destOrd="0" presId="urn:microsoft.com/office/officeart/2005/8/layout/orgChart1"/>
    <dgm:cxn modelId="{D46513A8-D56E-44FE-8A8C-ED04E9E182D1}" type="presParOf" srcId="{10A64C02-8A23-42BD-8B6F-54B587CBA4C7}" destId="{C5803DAF-3914-4C7F-BB76-5E6F5BBF9BA9}" srcOrd="0" destOrd="0" presId="urn:microsoft.com/office/officeart/2005/8/layout/orgChart1"/>
    <dgm:cxn modelId="{CF3C010C-42E6-4C73-B21E-1FDB2C3A9111}" type="presParOf" srcId="{10A64C02-8A23-42BD-8B6F-54B587CBA4C7}" destId="{E522CAE6-5790-46D4-9FCF-6F713393B555}" srcOrd="1" destOrd="0" presId="urn:microsoft.com/office/officeart/2005/8/layout/orgChart1"/>
    <dgm:cxn modelId="{E5D53719-A0DC-42F8-A347-5CB8FFF2D548}" type="presParOf" srcId="{215205A9-CB67-4640-AB9F-098DA86696B6}" destId="{B384BC8F-16D8-406F-A20D-E6B47D169177}" srcOrd="1" destOrd="0" presId="urn:microsoft.com/office/officeart/2005/8/layout/orgChart1"/>
    <dgm:cxn modelId="{0A93C2EF-E9DB-4BFC-BB9F-88033F65897D}" type="presParOf" srcId="{215205A9-CB67-4640-AB9F-098DA86696B6}" destId="{F0B73C13-362A-4B34-B89D-C42B46F233E4}" srcOrd="2" destOrd="0" presId="urn:microsoft.com/office/officeart/2005/8/layout/orgChart1"/>
    <dgm:cxn modelId="{4BDAA3E7-F118-4377-B3B9-9FCD1645CBB1}" type="presParOf" srcId="{E3DF6F36-FEB0-4402-991C-FBDAAA28BF36}" destId="{7E0FA1E5-2ECE-4A78-9081-AB7132B2AB27}" srcOrd="4" destOrd="0" presId="urn:microsoft.com/office/officeart/2005/8/layout/orgChart1"/>
    <dgm:cxn modelId="{682FAAC3-D1AA-4FC8-B226-256AAA962290}" type="presParOf" srcId="{E3DF6F36-FEB0-4402-991C-FBDAAA28BF36}" destId="{0FCA5994-E132-4D5E-AC1D-47289CEFAD8A}" srcOrd="5" destOrd="0" presId="urn:microsoft.com/office/officeart/2005/8/layout/orgChart1"/>
    <dgm:cxn modelId="{369C1309-B21A-4F8D-8859-BD13ED55BFEE}" type="presParOf" srcId="{0FCA5994-E132-4D5E-AC1D-47289CEFAD8A}" destId="{3A5E5E86-9116-4F03-8D51-73203D5AEC05}" srcOrd="0" destOrd="0" presId="urn:microsoft.com/office/officeart/2005/8/layout/orgChart1"/>
    <dgm:cxn modelId="{DA8F9692-6825-4EFE-A94A-4ABF9FA1A0DA}" type="presParOf" srcId="{3A5E5E86-9116-4F03-8D51-73203D5AEC05}" destId="{F4BF42CA-D91D-4377-B89A-28331B59B398}" srcOrd="0" destOrd="0" presId="urn:microsoft.com/office/officeart/2005/8/layout/orgChart1"/>
    <dgm:cxn modelId="{820845AE-7564-4534-97B0-6B57F5FAEE92}" type="presParOf" srcId="{3A5E5E86-9116-4F03-8D51-73203D5AEC05}" destId="{BB7C37DC-48A6-400B-A300-72C2430E8B56}" srcOrd="1" destOrd="0" presId="urn:microsoft.com/office/officeart/2005/8/layout/orgChart1"/>
    <dgm:cxn modelId="{FF3A1579-21C3-42C5-BDD4-62ECC086F5C9}" type="presParOf" srcId="{0FCA5994-E132-4D5E-AC1D-47289CEFAD8A}" destId="{3C54466D-B74E-4737-BD82-5DC384BE9D72}" srcOrd="1" destOrd="0" presId="urn:microsoft.com/office/officeart/2005/8/layout/orgChart1"/>
    <dgm:cxn modelId="{5F3FDE07-B81D-4F98-BD5B-B774BC4A8AA3}" type="presParOf" srcId="{0FCA5994-E132-4D5E-AC1D-47289CEFAD8A}" destId="{CB246BEA-4541-4D0E-AA4E-9293EEAA8891}" srcOrd="2" destOrd="0" presId="urn:microsoft.com/office/officeart/2005/8/layout/orgChart1"/>
    <dgm:cxn modelId="{FD3BFE36-0108-4ED8-B90B-D0B315B08E22}" type="presParOf" srcId="{033A536D-BAC4-4C7C-ADC9-F16846A880C6}" destId="{419FD7AF-855B-490E-9BE2-31D1BE9B4ECF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ABBB57F-1732-4FA3-A876-8CB78B7C7083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82B203FF-C5C8-40CC-84F2-DEC2CD2276DF}">
      <dgm:prSet phldrT="[Text]" custT="1"/>
      <dgm:spPr/>
      <dgm:t>
        <a:bodyPr/>
        <a:lstStyle/>
        <a:p>
          <a:r>
            <a:rPr lang="de-DE" sz="1400" dirty="0"/>
            <a:t>Formulierung des Zusammenhangs</a:t>
          </a:r>
        </a:p>
      </dgm:t>
    </dgm:pt>
    <dgm:pt modelId="{787E06A3-FFE7-4AB2-A8E4-AB339300753A}" type="parTrans" cxnId="{31E9A9C8-BF9A-4388-B84F-4B882F30A9D8}">
      <dgm:prSet/>
      <dgm:spPr/>
      <dgm:t>
        <a:bodyPr/>
        <a:lstStyle/>
        <a:p>
          <a:endParaRPr lang="de-DE" sz="1400"/>
        </a:p>
      </dgm:t>
    </dgm:pt>
    <dgm:pt modelId="{6214A214-738C-4E41-AEC9-52578E356B70}" type="sibTrans" cxnId="{31E9A9C8-BF9A-4388-B84F-4B882F30A9D8}">
      <dgm:prSet/>
      <dgm:spPr/>
      <dgm:t>
        <a:bodyPr/>
        <a:lstStyle/>
        <a:p>
          <a:endParaRPr lang="de-DE" sz="1400"/>
        </a:p>
      </dgm:t>
    </dgm:pt>
    <dgm:pt modelId="{D5CEBF60-33A4-41FE-8B46-D24E77BA0543}">
      <dgm:prSet phldrT="[Text]" custT="1"/>
      <dgm:spPr/>
      <dgm:t>
        <a:bodyPr/>
        <a:lstStyle/>
        <a:p>
          <a:r>
            <a:rPr lang="de-DE" sz="1400" dirty="0"/>
            <a:t>Auswahl und </a:t>
          </a:r>
          <a:r>
            <a:rPr lang="de-DE" sz="1400" b="1" dirty="0"/>
            <a:t>Normierung</a:t>
          </a:r>
          <a:r>
            <a:rPr lang="de-DE" sz="1400" dirty="0"/>
            <a:t> Input- und </a:t>
          </a:r>
          <a:r>
            <a:rPr lang="de-DE" sz="1400" dirty="0" err="1"/>
            <a:t>Outputgrößen</a:t>
          </a:r>
          <a:endParaRPr lang="de-DE" sz="1400" dirty="0"/>
        </a:p>
      </dgm:t>
    </dgm:pt>
    <dgm:pt modelId="{A7DACED2-4D39-4496-A727-B86E371D7662}" type="parTrans" cxnId="{2D97FCD8-5F90-44F8-A6A4-65486C470621}">
      <dgm:prSet/>
      <dgm:spPr/>
      <dgm:t>
        <a:bodyPr/>
        <a:lstStyle/>
        <a:p>
          <a:endParaRPr lang="de-DE" sz="1400"/>
        </a:p>
      </dgm:t>
    </dgm:pt>
    <dgm:pt modelId="{B9F47839-0E49-40F6-925B-9C3CEF9B85D7}" type="sibTrans" cxnId="{2D97FCD8-5F90-44F8-A6A4-65486C470621}">
      <dgm:prSet/>
      <dgm:spPr/>
      <dgm:t>
        <a:bodyPr/>
        <a:lstStyle/>
        <a:p>
          <a:endParaRPr lang="de-DE" sz="1400"/>
        </a:p>
      </dgm:t>
    </dgm:pt>
    <dgm:pt modelId="{0E84909A-C494-4C20-93A1-8C98E8666A39}">
      <dgm:prSet phldrT="[Text]" custT="1"/>
      <dgm:spPr/>
      <dgm:t>
        <a:bodyPr/>
        <a:lstStyle/>
        <a:p>
          <a:r>
            <a:rPr lang="de-DE" sz="1400" dirty="0"/>
            <a:t>Vorbereitung der Daten</a:t>
          </a:r>
        </a:p>
      </dgm:t>
    </dgm:pt>
    <dgm:pt modelId="{71BF0461-DC0D-436B-8580-330EC939315A}" type="parTrans" cxnId="{32B9B3E8-2B33-474F-BB24-C4861D53E7EE}">
      <dgm:prSet/>
      <dgm:spPr/>
      <dgm:t>
        <a:bodyPr/>
        <a:lstStyle/>
        <a:p>
          <a:endParaRPr lang="de-DE" sz="1400"/>
        </a:p>
      </dgm:t>
    </dgm:pt>
    <dgm:pt modelId="{6D49113F-F609-4566-8016-69FAC31BAD68}" type="sibTrans" cxnId="{32B9B3E8-2B33-474F-BB24-C4861D53E7EE}">
      <dgm:prSet/>
      <dgm:spPr/>
      <dgm:t>
        <a:bodyPr/>
        <a:lstStyle/>
        <a:p>
          <a:endParaRPr lang="de-DE" sz="1400"/>
        </a:p>
      </dgm:t>
    </dgm:pt>
    <dgm:pt modelId="{F71ACEB4-4B5C-498A-911D-A9435AA10741}">
      <dgm:prSet phldrT="[Text]" custT="1"/>
      <dgm:spPr/>
      <dgm:t>
        <a:bodyPr/>
        <a:lstStyle/>
        <a:p>
          <a:r>
            <a:rPr lang="de-DE" sz="1400" dirty="0"/>
            <a:t>Trennung Trainings-, Validierungs-, und Testdaten</a:t>
          </a:r>
        </a:p>
      </dgm:t>
    </dgm:pt>
    <dgm:pt modelId="{A632CA68-8ED0-4F1B-A322-B63B54E50BAC}" type="parTrans" cxnId="{A04EFE56-B951-4BDF-BCCF-0320F95F94ED}">
      <dgm:prSet/>
      <dgm:spPr/>
      <dgm:t>
        <a:bodyPr/>
        <a:lstStyle/>
        <a:p>
          <a:endParaRPr lang="de-DE" sz="1400"/>
        </a:p>
      </dgm:t>
    </dgm:pt>
    <dgm:pt modelId="{4C38089B-5FD9-467D-87AB-F194BC6FCC37}" type="sibTrans" cxnId="{A04EFE56-B951-4BDF-BCCF-0320F95F94ED}">
      <dgm:prSet/>
      <dgm:spPr/>
      <dgm:t>
        <a:bodyPr/>
        <a:lstStyle/>
        <a:p>
          <a:endParaRPr lang="de-DE" sz="1400"/>
        </a:p>
      </dgm:t>
    </dgm:pt>
    <dgm:pt modelId="{7874D0C4-8F14-4D0D-A6E3-A0823C2D32B6}">
      <dgm:prSet phldrT="[Text]" custT="1"/>
      <dgm:spPr/>
      <dgm:t>
        <a:bodyPr/>
        <a:lstStyle/>
        <a:p>
          <a:r>
            <a:rPr lang="de-DE" sz="1400" dirty="0"/>
            <a:t>Zuschnitt von X und Y aus der Datensequenz</a:t>
          </a:r>
        </a:p>
      </dgm:t>
    </dgm:pt>
    <dgm:pt modelId="{4CF5C90A-380F-49C9-AE2C-A2DF5B3D2862}" type="parTrans" cxnId="{FE8E6352-A2A0-4B0D-9FBD-2750D893523B}">
      <dgm:prSet/>
      <dgm:spPr/>
      <dgm:t>
        <a:bodyPr/>
        <a:lstStyle/>
        <a:p>
          <a:endParaRPr lang="de-DE"/>
        </a:p>
      </dgm:t>
    </dgm:pt>
    <dgm:pt modelId="{D003E0C1-FB9D-4F1E-8714-2E8846B79D9A}" type="sibTrans" cxnId="{FE8E6352-A2A0-4B0D-9FBD-2750D893523B}">
      <dgm:prSet/>
      <dgm:spPr/>
      <dgm:t>
        <a:bodyPr/>
        <a:lstStyle/>
        <a:p>
          <a:endParaRPr lang="de-DE"/>
        </a:p>
      </dgm:t>
    </dgm:pt>
    <dgm:pt modelId="{44ECAD65-1697-4C5D-B562-6E679A8F2893}">
      <dgm:prSet phldrT="[Text]" custT="1"/>
      <dgm:spPr/>
      <dgm:t>
        <a:bodyPr/>
        <a:lstStyle/>
        <a:p>
          <a:r>
            <a:rPr lang="de-DE" sz="1400" dirty="0"/>
            <a:t>Aufbau des neuronalen Netzes</a:t>
          </a:r>
        </a:p>
      </dgm:t>
    </dgm:pt>
    <dgm:pt modelId="{A60CA8B5-0168-42CE-B8A3-C3CABA75901F}" type="parTrans" cxnId="{AC40C63E-A62E-4456-A940-1086D86693F2}">
      <dgm:prSet/>
      <dgm:spPr/>
      <dgm:t>
        <a:bodyPr/>
        <a:lstStyle/>
        <a:p>
          <a:endParaRPr lang="de-DE"/>
        </a:p>
      </dgm:t>
    </dgm:pt>
    <dgm:pt modelId="{5F5F62A4-5845-4D7D-8B37-8D6B9C970938}" type="sibTrans" cxnId="{AC40C63E-A62E-4456-A940-1086D86693F2}">
      <dgm:prSet/>
      <dgm:spPr/>
      <dgm:t>
        <a:bodyPr/>
        <a:lstStyle/>
        <a:p>
          <a:endParaRPr lang="de-DE"/>
        </a:p>
      </dgm:t>
    </dgm:pt>
    <dgm:pt modelId="{C992BF9B-F5DF-4A67-8489-32293F488764}">
      <dgm:prSet phldrT="[Text]" custT="1"/>
      <dgm:spPr/>
      <dgm:t>
        <a:bodyPr/>
        <a:lstStyle/>
        <a:p>
          <a:r>
            <a:rPr lang="de-DE" sz="1400" dirty="0"/>
            <a:t>Anzahl der Schichten</a:t>
          </a:r>
        </a:p>
      </dgm:t>
    </dgm:pt>
    <dgm:pt modelId="{6EA3391F-B4FB-4CFE-9E82-43852D2CDA63}" type="parTrans" cxnId="{C1F42D73-46AB-43A3-B31E-7650C24DC060}">
      <dgm:prSet/>
      <dgm:spPr/>
      <dgm:t>
        <a:bodyPr/>
        <a:lstStyle/>
        <a:p>
          <a:endParaRPr lang="de-DE"/>
        </a:p>
      </dgm:t>
    </dgm:pt>
    <dgm:pt modelId="{CDBB932F-E68B-4032-9628-8FD4DFF37A6D}" type="sibTrans" cxnId="{C1F42D73-46AB-43A3-B31E-7650C24DC060}">
      <dgm:prSet/>
      <dgm:spPr/>
      <dgm:t>
        <a:bodyPr/>
        <a:lstStyle/>
        <a:p>
          <a:endParaRPr lang="de-DE"/>
        </a:p>
      </dgm:t>
    </dgm:pt>
    <dgm:pt modelId="{84EFE87B-7342-4652-83C4-61FE8B845FF7}">
      <dgm:prSet phldrT="[Text]" custT="1"/>
      <dgm:spPr/>
      <dgm:t>
        <a:bodyPr/>
        <a:lstStyle/>
        <a:p>
          <a:r>
            <a:rPr lang="de-DE" sz="1400" dirty="0"/>
            <a:t>Typ der Schichten</a:t>
          </a:r>
        </a:p>
      </dgm:t>
    </dgm:pt>
    <dgm:pt modelId="{0BA49E36-C4A2-44CF-8369-14E8BF94F6B4}" type="parTrans" cxnId="{69CB778E-8F28-4976-A6E2-2F56E2AB1074}">
      <dgm:prSet/>
      <dgm:spPr/>
      <dgm:t>
        <a:bodyPr/>
        <a:lstStyle/>
        <a:p>
          <a:endParaRPr lang="de-DE"/>
        </a:p>
      </dgm:t>
    </dgm:pt>
    <dgm:pt modelId="{95027CCA-0E4A-4E64-AB0F-704BA3CF558E}" type="sibTrans" cxnId="{69CB778E-8F28-4976-A6E2-2F56E2AB1074}">
      <dgm:prSet/>
      <dgm:spPr/>
      <dgm:t>
        <a:bodyPr/>
        <a:lstStyle/>
        <a:p>
          <a:endParaRPr lang="de-DE"/>
        </a:p>
      </dgm:t>
    </dgm:pt>
    <dgm:pt modelId="{1B226A70-8804-47CB-BBB4-09F55732B0E9}">
      <dgm:prSet phldrT="[Text]" custT="1"/>
      <dgm:spPr/>
      <dgm:t>
        <a:bodyPr/>
        <a:lstStyle/>
        <a:p>
          <a:r>
            <a:rPr lang="de-DE" sz="1400" dirty="0"/>
            <a:t>Art der Aktivierung</a:t>
          </a:r>
        </a:p>
      </dgm:t>
    </dgm:pt>
    <dgm:pt modelId="{DF5905AB-9E9A-4ACE-94E8-F0301A413D55}" type="parTrans" cxnId="{A164FB7B-8CEF-495B-A0A0-5C6408DD9A6B}">
      <dgm:prSet/>
      <dgm:spPr/>
      <dgm:t>
        <a:bodyPr/>
        <a:lstStyle/>
        <a:p>
          <a:endParaRPr lang="de-DE"/>
        </a:p>
      </dgm:t>
    </dgm:pt>
    <dgm:pt modelId="{D61B6B44-2914-453B-88EC-9067F7955B79}" type="sibTrans" cxnId="{A164FB7B-8CEF-495B-A0A0-5C6408DD9A6B}">
      <dgm:prSet/>
      <dgm:spPr/>
      <dgm:t>
        <a:bodyPr/>
        <a:lstStyle/>
        <a:p>
          <a:endParaRPr lang="de-DE"/>
        </a:p>
      </dgm:t>
    </dgm:pt>
    <dgm:pt modelId="{5D62F6B2-779A-4555-9EEF-3D6BBE9BA67D}">
      <dgm:prSet phldrT="[Text]" custT="1"/>
      <dgm:spPr/>
      <dgm:t>
        <a:bodyPr/>
        <a:lstStyle/>
        <a:p>
          <a:r>
            <a:rPr lang="de-DE" sz="1400" dirty="0"/>
            <a:t>Anzahl der Neuronen pro Schicht</a:t>
          </a:r>
        </a:p>
      </dgm:t>
    </dgm:pt>
    <dgm:pt modelId="{9C718D8F-4249-40F0-8924-CAE292BD8134}" type="parTrans" cxnId="{B0F16946-BC3F-4356-952A-772D505A9A4C}">
      <dgm:prSet/>
      <dgm:spPr/>
      <dgm:t>
        <a:bodyPr/>
        <a:lstStyle/>
        <a:p>
          <a:endParaRPr lang="de-DE"/>
        </a:p>
      </dgm:t>
    </dgm:pt>
    <dgm:pt modelId="{38CC95CE-948F-4E74-8EEE-18F5432BD95F}" type="sibTrans" cxnId="{B0F16946-BC3F-4356-952A-772D505A9A4C}">
      <dgm:prSet/>
      <dgm:spPr/>
      <dgm:t>
        <a:bodyPr/>
        <a:lstStyle/>
        <a:p>
          <a:endParaRPr lang="de-DE"/>
        </a:p>
      </dgm:t>
    </dgm:pt>
    <dgm:pt modelId="{81C23169-FAEF-4BDE-A069-966731337945}">
      <dgm:prSet phldrT="[Text]" custT="1"/>
      <dgm:spPr/>
      <dgm:t>
        <a:bodyPr/>
        <a:lstStyle/>
        <a:p>
          <a:r>
            <a:rPr lang="de-DE" sz="1400" dirty="0"/>
            <a:t>Festlegung der weiteren Hyperparameter</a:t>
          </a:r>
        </a:p>
      </dgm:t>
    </dgm:pt>
    <dgm:pt modelId="{4D713B38-D43B-4F2C-A6F0-08C7AA4D3370}" type="parTrans" cxnId="{F50F42C3-DEAE-4D93-BB7D-AA872192B9C4}">
      <dgm:prSet/>
      <dgm:spPr/>
      <dgm:t>
        <a:bodyPr/>
        <a:lstStyle/>
        <a:p>
          <a:endParaRPr lang="de-DE"/>
        </a:p>
      </dgm:t>
    </dgm:pt>
    <dgm:pt modelId="{C1ACA79D-2AFE-4BC8-B567-0EF8554B02A5}" type="sibTrans" cxnId="{F50F42C3-DEAE-4D93-BB7D-AA872192B9C4}">
      <dgm:prSet/>
      <dgm:spPr/>
      <dgm:t>
        <a:bodyPr/>
        <a:lstStyle/>
        <a:p>
          <a:endParaRPr lang="de-DE"/>
        </a:p>
      </dgm:t>
    </dgm:pt>
    <dgm:pt modelId="{7F15262A-DA1E-4F75-AF5C-40C854D60A85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r Verlustfunktion</a:t>
          </a:r>
        </a:p>
      </dgm:t>
    </dgm:pt>
    <dgm:pt modelId="{5DBBA9DE-11F2-4301-93EF-CE04C19F8E9A}" type="parTrans" cxnId="{50261516-879C-4FEF-BF6D-0D60F97B5456}">
      <dgm:prSet/>
      <dgm:spPr/>
      <dgm:t>
        <a:bodyPr/>
        <a:lstStyle/>
        <a:p>
          <a:endParaRPr lang="de-DE"/>
        </a:p>
      </dgm:t>
    </dgm:pt>
    <dgm:pt modelId="{56EB540A-6D2D-4554-A09B-585773FCE023}" type="sibTrans" cxnId="{50261516-879C-4FEF-BF6D-0D60F97B5456}">
      <dgm:prSet/>
      <dgm:spPr/>
      <dgm:t>
        <a:bodyPr/>
        <a:lstStyle/>
        <a:p>
          <a:endParaRPr lang="de-DE"/>
        </a:p>
      </dgm:t>
    </dgm:pt>
    <dgm:pt modelId="{5DD3229C-C5DD-4A39-AC85-FB71E89C71F2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r Epochen</a:t>
          </a:r>
        </a:p>
      </dgm:t>
    </dgm:pt>
    <dgm:pt modelId="{9C51C98F-DDD3-443E-95F7-8A866A8AE0A9}" type="parTrans" cxnId="{2E51088B-9FAB-41AA-87BD-E10362056E67}">
      <dgm:prSet/>
      <dgm:spPr/>
      <dgm:t>
        <a:bodyPr/>
        <a:lstStyle/>
        <a:p>
          <a:endParaRPr lang="de-DE"/>
        </a:p>
      </dgm:t>
    </dgm:pt>
    <dgm:pt modelId="{12C8C82F-35DD-4E7C-A589-52CE46109E46}" type="sibTrans" cxnId="{2E51088B-9FAB-41AA-87BD-E10362056E67}">
      <dgm:prSet/>
      <dgm:spPr/>
      <dgm:t>
        <a:bodyPr/>
        <a:lstStyle/>
        <a:p>
          <a:endParaRPr lang="de-DE"/>
        </a:p>
      </dgm:t>
    </dgm:pt>
    <dgm:pt modelId="{92597F4D-A44C-4CC4-A379-3C95A7F5E23C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s Optimierungsmechanismus</a:t>
          </a:r>
        </a:p>
      </dgm:t>
    </dgm:pt>
    <dgm:pt modelId="{4025FE31-87D2-40C4-B673-01263BBE517A}" type="parTrans" cxnId="{19EAB137-E2DE-48AA-9153-4A0EC6740EE9}">
      <dgm:prSet/>
      <dgm:spPr/>
      <dgm:t>
        <a:bodyPr/>
        <a:lstStyle/>
        <a:p>
          <a:endParaRPr lang="de-DE"/>
        </a:p>
      </dgm:t>
    </dgm:pt>
    <dgm:pt modelId="{B7649C1B-6D88-4604-82EF-4DDB46E25CA8}" type="sibTrans" cxnId="{19EAB137-E2DE-48AA-9153-4A0EC6740EE9}">
      <dgm:prSet/>
      <dgm:spPr/>
      <dgm:t>
        <a:bodyPr/>
        <a:lstStyle/>
        <a:p>
          <a:endParaRPr lang="de-DE"/>
        </a:p>
      </dgm:t>
    </dgm:pt>
    <dgm:pt modelId="{BE3B2D11-EB8B-471B-A7DC-502504D9C8F1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/>
            <a:t>Wahl der Parameter des Optimierungsmechanismus</a:t>
          </a:r>
          <a:endParaRPr lang="de-DE" sz="1400" dirty="0"/>
        </a:p>
      </dgm:t>
    </dgm:pt>
    <dgm:pt modelId="{7D43578C-E5F9-4B56-8FFA-B1DEC8A62CED}" type="parTrans" cxnId="{91DB1952-6F61-46B1-AA6D-EEF8FD212429}">
      <dgm:prSet/>
      <dgm:spPr/>
      <dgm:t>
        <a:bodyPr/>
        <a:lstStyle/>
        <a:p>
          <a:endParaRPr lang="de-DE"/>
        </a:p>
      </dgm:t>
    </dgm:pt>
    <dgm:pt modelId="{FE4A7049-02FF-4273-86C0-6C8EA8B40CEE}" type="sibTrans" cxnId="{91DB1952-6F61-46B1-AA6D-EEF8FD212429}">
      <dgm:prSet/>
      <dgm:spPr/>
      <dgm:t>
        <a:bodyPr/>
        <a:lstStyle/>
        <a:p>
          <a:endParaRPr lang="de-DE"/>
        </a:p>
      </dgm:t>
    </dgm:pt>
    <dgm:pt modelId="{4C84E1FB-F406-4664-A669-0CDE3BBD5BA0}" type="pres">
      <dgm:prSet presAssocID="{2ABBB57F-1732-4FA3-A876-8CB78B7C7083}" presName="linear" presStyleCnt="0">
        <dgm:presLayoutVars>
          <dgm:animLvl val="lvl"/>
          <dgm:resizeHandles val="exact"/>
        </dgm:presLayoutVars>
      </dgm:prSet>
      <dgm:spPr/>
    </dgm:pt>
    <dgm:pt modelId="{C328561F-3389-4EF8-A729-05D8C9BACB36}" type="pres">
      <dgm:prSet presAssocID="{82B203FF-C5C8-40CC-84F2-DEC2CD2276DF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627FE9A7-F57C-418C-814B-8629F18B4596}" type="pres">
      <dgm:prSet presAssocID="{82B203FF-C5C8-40CC-84F2-DEC2CD2276DF}" presName="childText" presStyleLbl="revTx" presStyleIdx="0" presStyleCnt="4">
        <dgm:presLayoutVars>
          <dgm:bulletEnabled val="1"/>
        </dgm:presLayoutVars>
      </dgm:prSet>
      <dgm:spPr/>
    </dgm:pt>
    <dgm:pt modelId="{FF5983FE-E4DE-4E57-AAD4-E6C799C9C3AA}" type="pres">
      <dgm:prSet presAssocID="{0E84909A-C494-4C20-93A1-8C98E8666A39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9477F54-E1FB-47C5-89CE-3DA20E89F061}" type="pres">
      <dgm:prSet presAssocID="{0E84909A-C494-4C20-93A1-8C98E8666A39}" presName="childText" presStyleLbl="revTx" presStyleIdx="1" presStyleCnt="4">
        <dgm:presLayoutVars>
          <dgm:bulletEnabled val="1"/>
        </dgm:presLayoutVars>
      </dgm:prSet>
      <dgm:spPr/>
    </dgm:pt>
    <dgm:pt modelId="{733F7779-83BA-4DAE-BCFA-18BC404F6FA0}" type="pres">
      <dgm:prSet presAssocID="{44ECAD65-1697-4C5D-B562-6E679A8F2893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05ABDD20-A1EA-4974-B05F-0EC19E638766}" type="pres">
      <dgm:prSet presAssocID="{44ECAD65-1697-4C5D-B562-6E679A8F2893}" presName="childText" presStyleLbl="revTx" presStyleIdx="2" presStyleCnt="4">
        <dgm:presLayoutVars>
          <dgm:bulletEnabled val="1"/>
        </dgm:presLayoutVars>
      </dgm:prSet>
      <dgm:spPr/>
    </dgm:pt>
    <dgm:pt modelId="{ABB4A065-1986-433F-9690-CAC2A70B2D57}" type="pres">
      <dgm:prSet presAssocID="{81C23169-FAEF-4BDE-A069-966731337945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1F1668FF-B4F3-4071-B1F3-F96CF274091A}" type="pres">
      <dgm:prSet presAssocID="{81C23169-FAEF-4BDE-A069-966731337945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E10BFA04-10BF-4F7E-B869-71321779B465}" type="presOf" srcId="{82B203FF-C5C8-40CC-84F2-DEC2CD2276DF}" destId="{C328561F-3389-4EF8-A729-05D8C9BACB36}" srcOrd="0" destOrd="0" presId="urn:microsoft.com/office/officeart/2005/8/layout/vList2"/>
    <dgm:cxn modelId="{D4039B09-547C-454A-97C7-53E71AE0F734}" type="presOf" srcId="{F71ACEB4-4B5C-498A-911D-A9435AA10741}" destId="{F9477F54-E1FB-47C5-89CE-3DA20E89F061}" srcOrd="0" destOrd="0" presId="urn:microsoft.com/office/officeart/2005/8/layout/vList2"/>
    <dgm:cxn modelId="{7F59590C-A3AD-473B-BBE1-7BAC0402E92D}" type="presOf" srcId="{1B226A70-8804-47CB-BBB4-09F55732B0E9}" destId="{05ABDD20-A1EA-4974-B05F-0EC19E638766}" srcOrd="0" destOrd="2" presId="urn:microsoft.com/office/officeart/2005/8/layout/vList2"/>
    <dgm:cxn modelId="{F38B6713-3359-484E-987D-E1BB338E5031}" type="presOf" srcId="{92597F4D-A44C-4CC4-A379-3C95A7F5E23C}" destId="{1F1668FF-B4F3-4071-B1F3-F96CF274091A}" srcOrd="0" destOrd="2" presId="urn:microsoft.com/office/officeart/2005/8/layout/vList2"/>
    <dgm:cxn modelId="{50261516-879C-4FEF-BF6D-0D60F97B5456}" srcId="{81C23169-FAEF-4BDE-A069-966731337945}" destId="{7F15262A-DA1E-4F75-AF5C-40C854D60A85}" srcOrd="0" destOrd="0" parTransId="{5DBBA9DE-11F2-4301-93EF-CE04C19F8E9A}" sibTransId="{56EB540A-6D2D-4554-A09B-585773FCE023}"/>
    <dgm:cxn modelId="{680D431B-2412-4227-A131-4A18862698AD}" type="presOf" srcId="{D5CEBF60-33A4-41FE-8B46-D24E77BA0543}" destId="{627FE9A7-F57C-418C-814B-8629F18B4596}" srcOrd="0" destOrd="0" presId="urn:microsoft.com/office/officeart/2005/8/layout/vList2"/>
    <dgm:cxn modelId="{82DEBE24-7317-4A42-B72B-189344B89A98}" type="presOf" srcId="{2ABBB57F-1732-4FA3-A876-8CB78B7C7083}" destId="{4C84E1FB-F406-4664-A669-0CDE3BBD5BA0}" srcOrd="0" destOrd="0" presId="urn:microsoft.com/office/officeart/2005/8/layout/vList2"/>
    <dgm:cxn modelId="{19EAB137-E2DE-48AA-9153-4A0EC6740EE9}" srcId="{81C23169-FAEF-4BDE-A069-966731337945}" destId="{92597F4D-A44C-4CC4-A379-3C95A7F5E23C}" srcOrd="2" destOrd="0" parTransId="{4025FE31-87D2-40C4-B673-01263BBE517A}" sibTransId="{B7649C1B-6D88-4604-82EF-4DDB46E25CA8}"/>
    <dgm:cxn modelId="{5A17DE37-9763-4DCA-9593-D630ED420338}" type="presOf" srcId="{5DD3229C-C5DD-4A39-AC85-FB71E89C71F2}" destId="{1F1668FF-B4F3-4071-B1F3-F96CF274091A}" srcOrd="0" destOrd="1" presId="urn:microsoft.com/office/officeart/2005/8/layout/vList2"/>
    <dgm:cxn modelId="{3D05153E-0B27-4ACC-A912-52746F6912FD}" type="presOf" srcId="{0E84909A-C494-4C20-93A1-8C98E8666A39}" destId="{FF5983FE-E4DE-4E57-AAD4-E6C799C9C3AA}" srcOrd="0" destOrd="0" presId="urn:microsoft.com/office/officeart/2005/8/layout/vList2"/>
    <dgm:cxn modelId="{AC40C63E-A62E-4456-A940-1086D86693F2}" srcId="{2ABBB57F-1732-4FA3-A876-8CB78B7C7083}" destId="{44ECAD65-1697-4C5D-B562-6E679A8F2893}" srcOrd="2" destOrd="0" parTransId="{A60CA8B5-0168-42CE-B8A3-C3CABA75901F}" sibTransId="{5F5F62A4-5845-4D7D-8B37-8D6B9C970938}"/>
    <dgm:cxn modelId="{582F5061-317B-48FE-9458-76EFC259B0CF}" type="presOf" srcId="{84EFE87B-7342-4652-83C4-61FE8B845FF7}" destId="{05ABDD20-A1EA-4974-B05F-0EC19E638766}" srcOrd="0" destOrd="1" presId="urn:microsoft.com/office/officeart/2005/8/layout/vList2"/>
    <dgm:cxn modelId="{B0F16946-BC3F-4356-952A-772D505A9A4C}" srcId="{44ECAD65-1697-4C5D-B562-6E679A8F2893}" destId="{5D62F6B2-779A-4555-9EEF-3D6BBE9BA67D}" srcOrd="3" destOrd="0" parTransId="{9C718D8F-4249-40F0-8924-CAE292BD8134}" sibTransId="{38CC95CE-948F-4E74-8EEE-18F5432BD95F}"/>
    <dgm:cxn modelId="{91DB1952-6F61-46B1-AA6D-EEF8FD212429}" srcId="{81C23169-FAEF-4BDE-A069-966731337945}" destId="{BE3B2D11-EB8B-471B-A7DC-502504D9C8F1}" srcOrd="3" destOrd="0" parTransId="{7D43578C-E5F9-4B56-8FFA-B1DEC8A62CED}" sibTransId="{FE4A7049-02FF-4273-86C0-6C8EA8B40CEE}"/>
    <dgm:cxn modelId="{FE8E6352-A2A0-4B0D-9FBD-2750D893523B}" srcId="{0E84909A-C494-4C20-93A1-8C98E8666A39}" destId="{7874D0C4-8F14-4D0D-A6E3-A0823C2D32B6}" srcOrd="1" destOrd="0" parTransId="{4CF5C90A-380F-49C9-AE2C-A2DF5B3D2862}" sibTransId="{D003E0C1-FB9D-4F1E-8714-2E8846B79D9A}"/>
    <dgm:cxn modelId="{C1F42D73-46AB-43A3-B31E-7650C24DC060}" srcId="{44ECAD65-1697-4C5D-B562-6E679A8F2893}" destId="{C992BF9B-F5DF-4A67-8489-32293F488764}" srcOrd="0" destOrd="0" parTransId="{6EA3391F-B4FB-4CFE-9E82-43852D2CDA63}" sibTransId="{CDBB932F-E68B-4032-9628-8FD4DFF37A6D}"/>
    <dgm:cxn modelId="{A04EFE56-B951-4BDF-BCCF-0320F95F94ED}" srcId="{0E84909A-C494-4C20-93A1-8C98E8666A39}" destId="{F71ACEB4-4B5C-498A-911D-A9435AA10741}" srcOrd="0" destOrd="0" parTransId="{A632CA68-8ED0-4F1B-A322-B63B54E50BAC}" sibTransId="{4C38089B-5FD9-467D-87AB-F194BC6FCC37}"/>
    <dgm:cxn modelId="{C8204C77-EC8D-416B-AADB-467166ECC10B}" type="presOf" srcId="{44ECAD65-1697-4C5D-B562-6E679A8F2893}" destId="{733F7779-83BA-4DAE-BCFA-18BC404F6FA0}" srcOrd="0" destOrd="0" presId="urn:microsoft.com/office/officeart/2005/8/layout/vList2"/>
    <dgm:cxn modelId="{A164FB7B-8CEF-495B-A0A0-5C6408DD9A6B}" srcId="{44ECAD65-1697-4C5D-B562-6E679A8F2893}" destId="{1B226A70-8804-47CB-BBB4-09F55732B0E9}" srcOrd="2" destOrd="0" parTransId="{DF5905AB-9E9A-4ACE-94E8-F0301A413D55}" sibTransId="{D61B6B44-2914-453B-88EC-9067F7955B79}"/>
    <dgm:cxn modelId="{2E51088B-9FAB-41AA-87BD-E10362056E67}" srcId="{81C23169-FAEF-4BDE-A069-966731337945}" destId="{5DD3229C-C5DD-4A39-AC85-FB71E89C71F2}" srcOrd="1" destOrd="0" parTransId="{9C51C98F-DDD3-443E-95F7-8A866A8AE0A9}" sibTransId="{12C8C82F-35DD-4E7C-A589-52CE46109E46}"/>
    <dgm:cxn modelId="{69CB778E-8F28-4976-A6E2-2F56E2AB1074}" srcId="{44ECAD65-1697-4C5D-B562-6E679A8F2893}" destId="{84EFE87B-7342-4652-83C4-61FE8B845FF7}" srcOrd="1" destOrd="0" parTransId="{0BA49E36-C4A2-44CF-8369-14E8BF94F6B4}" sibTransId="{95027CCA-0E4A-4E64-AB0F-704BA3CF558E}"/>
    <dgm:cxn modelId="{EC580993-FDEA-4C53-AA05-CCFCABC9392D}" type="presOf" srcId="{7F15262A-DA1E-4F75-AF5C-40C854D60A85}" destId="{1F1668FF-B4F3-4071-B1F3-F96CF274091A}" srcOrd="0" destOrd="0" presId="urn:microsoft.com/office/officeart/2005/8/layout/vList2"/>
    <dgm:cxn modelId="{24B303B5-6CCF-4750-BD2A-498C4510C2EC}" type="presOf" srcId="{81C23169-FAEF-4BDE-A069-966731337945}" destId="{ABB4A065-1986-433F-9690-CAC2A70B2D57}" srcOrd="0" destOrd="0" presId="urn:microsoft.com/office/officeart/2005/8/layout/vList2"/>
    <dgm:cxn modelId="{F50F42C3-DEAE-4D93-BB7D-AA872192B9C4}" srcId="{2ABBB57F-1732-4FA3-A876-8CB78B7C7083}" destId="{81C23169-FAEF-4BDE-A069-966731337945}" srcOrd="3" destOrd="0" parTransId="{4D713B38-D43B-4F2C-A6F0-08C7AA4D3370}" sibTransId="{C1ACA79D-2AFE-4BC8-B567-0EF8554B02A5}"/>
    <dgm:cxn modelId="{31E9A9C8-BF9A-4388-B84F-4B882F30A9D8}" srcId="{2ABBB57F-1732-4FA3-A876-8CB78B7C7083}" destId="{82B203FF-C5C8-40CC-84F2-DEC2CD2276DF}" srcOrd="0" destOrd="0" parTransId="{787E06A3-FFE7-4AB2-A8E4-AB339300753A}" sibTransId="{6214A214-738C-4E41-AEC9-52578E356B70}"/>
    <dgm:cxn modelId="{2D97FCD8-5F90-44F8-A6A4-65486C470621}" srcId="{82B203FF-C5C8-40CC-84F2-DEC2CD2276DF}" destId="{D5CEBF60-33A4-41FE-8B46-D24E77BA0543}" srcOrd="0" destOrd="0" parTransId="{A7DACED2-4D39-4496-A727-B86E371D7662}" sibTransId="{B9F47839-0E49-40F6-925B-9C3CEF9B85D7}"/>
    <dgm:cxn modelId="{89C306DF-83AA-4256-A022-35ECFD94C515}" type="presOf" srcId="{5D62F6B2-779A-4555-9EEF-3D6BBE9BA67D}" destId="{05ABDD20-A1EA-4974-B05F-0EC19E638766}" srcOrd="0" destOrd="3" presId="urn:microsoft.com/office/officeart/2005/8/layout/vList2"/>
    <dgm:cxn modelId="{1CAA2CE0-A974-4295-AD62-F983D73A4F29}" type="presOf" srcId="{C992BF9B-F5DF-4A67-8489-32293F488764}" destId="{05ABDD20-A1EA-4974-B05F-0EC19E638766}" srcOrd="0" destOrd="0" presId="urn:microsoft.com/office/officeart/2005/8/layout/vList2"/>
    <dgm:cxn modelId="{A8FFBDE6-42C0-4DC9-A00A-6481B300BE67}" type="presOf" srcId="{BE3B2D11-EB8B-471B-A7DC-502504D9C8F1}" destId="{1F1668FF-B4F3-4071-B1F3-F96CF274091A}" srcOrd="0" destOrd="3" presId="urn:microsoft.com/office/officeart/2005/8/layout/vList2"/>
    <dgm:cxn modelId="{32B9B3E8-2B33-474F-BB24-C4861D53E7EE}" srcId="{2ABBB57F-1732-4FA3-A876-8CB78B7C7083}" destId="{0E84909A-C494-4C20-93A1-8C98E8666A39}" srcOrd="1" destOrd="0" parTransId="{71BF0461-DC0D-436B-8580-330EC939315A}" sibTransId="{6D49113F-F609-4566-8016-69FAC31BAD68}"/>
    <dgm:cxn modelId="{6AE44BF9-73C0-4AD2-9722-619D100C30E7}" type="presOf" srcId="{7874D0C4-8F14-4D0D-A6E3-A0823C2D32B6}" destId="{F9477F54-E1FB-47C5-89CE-3DA20E89F061}" srcOrd="0" destOrd="1" presId="urn:microsoft.com/office/officeart/2005/8/layout/vList2"/>
    <dgm:cxn modelId="{44F49261-0F68-4340-8D0C-5BC8587466D3}" type="presParOf" srcId="{4C84E1FB-F406-4664-A669-0CDE3BBD5BA0}" destId="{C328561F-3389-4EF8-A729-05D8C9BACB36}" srcOrd="0" destOrd="0" presId="urn:microsoft.com/office/officeart/2005/8/layout/vList2"/>
    <dgm:cxn modelId="{33E768DC-03A9-4F97-948D-07F6738AF5A8}" type="presParOf" srcId="{4C84E1FB-F406-4664-A669-0CDE3BBD5BA0}" destId="{627FE9A7-F57C-418C-814B-8629F18B4596}" srcOrd="1" destOrd="0" presId="urn:microsoft.com/office/officeart/2005/8/layout/vList2"/>
    <dgm:cxn modelId="{D3789D04-C279-4B91-B8B1-33BE219A626A}" type="presParOf" srcId="{4C84E1FB-F406-4664-A669-0CDE3BBD5BA0}" destId="{FF5983FE-E4DE-4E57-AAD4-E6C799C9C3AA}" srcOrd="2" destOrd="0" presId="urn:microsoft.com/office/officeart/2005/8/layout/vList2"/>
    <dgm:cxn modelId="{A3C3E3D0-A856-4368-A166-2CC15AC92CDF}" type="presParOf" srcId="{4C84E1FB-F406-4664-A669-0CDE3BBD5BA0}" destId="{F9477F54-E1FB-47C5-89CE-3DA20E89F061}" srcOrd="3" destOrd="0" presId="urn:microsoft.com/office/officeart/2005/8/layout/vList2"/>
    <dgm:cxn modelId="{135E2765-83A0-4CD5-AB3F-CDCC73ECA3DC}" type="presParOf" srcId="{4C84E1FB-F406-4664-A669-0CDE3BBD5BA0}" destId="{733F7779-83BA-4DAE-BCFA-18BC404F6FA0}" srcOrd="4" destOrd="0" presId="urn:microsoft.com/office/officeart/2005/8/layout/vList2"/>
    <dgm:cxn modelId="{94F50165-3763-46BE-A0D6-5F1F00107404}" type="presParOf" srcId="{4C84E1FB-F406-4664-A669-0CDE3BBD5BA0}" destId="{05ABDD20-A1EA-4974-B05F-0EC19E638766}" srcOrd="5" destOrd="0" presId="urn:microsoft.com/office/officeart/2005/8/layout/vList2"/>
    <dgm:cxn modelId="{5FBDC89D-6694-4134-BE22-8AC2B1F0701C}" type="presParOf" srcId="{4C84E1FB-F406-4664-A669-0CDE3BBD5BA0}" destId="{ABB4A065-1986-433F-9690-CAC2A70B2D57}" srcOrd="6" destOrd="0" presId="urn:microsoft.com/office/officeart/2005/8/layout/vList2"/>
    <dgm:cxn modelId="{1C249692-0C33-42C6-B78C-94F80A42C905}" type="presParOf" srcId="{4C84E1FB-F406-4664-A669-0CDE3BBD5BA0}" destId="{1F1668FF-B4F3-4071-B1F3-F96CF274091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ABBB57F-1732-4FA3-A876-8CB78B7C7083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82B203FF-C5C8-40CC-84F2-DEC2CD2276DF}">
      <dgm:prSet phldrT="[Text]" custT="1"/>
      <dgm:spPr/>
      <dgm:t>
        <a:bodyPr/>
        <a:lstStyle/>
        <a:p>
          <a:r>
            <a:rPr lang="de-DE" sz="1400" dirty="0"/>
            <a:t>Formulierung des Zusammenhangs</a:t>
          </a:r>
        </a:p>
      </dgm:t>
    </dgm:pt>
    <dgm:pt modelId="{787E06A3-FFE7-4AB2-A8E4-AB339300753A}" type="parTrans" cxnId="{31E9A9C8-BF9A-4388-B84F-4B882F30A9D8}">
      <dgm:prSet/>
      <dgm:spPr/>
      <dgm:t>
        <a:bodyPr/>
        <a:lstStyle/>
        <a:p>
          <a:endParaRPr lang="de-DE" sz="1400"/>
        </a:p>
      </dgm:t>
    </dgm:pt>
    <dgm:pt modelId="{6214A214-738C-4E41-AEC9-52578E356B70}" type="sibTrans" cxnId="{31E9A9C8-BF9A-4388-B84F-4B882F30A9D8}">
      <dgm:prSet/>
      <dgm:spPr/>
      <dgm:t>
        <a:bodyPr/>
        <a:lstStyle/>
        <a:p>
          <a:endParaRPr lang="de-DE" sz="1400"/>
        </a:p>
      </dgm:t>
    </dgm:pt>
    <dgm:pt modelId="{D5CEBF60-33A4-41FE-8B46-D24E77BA0543}">
      <dgm:prSet phldrT="[Text]" custT="1"/>
      <dgm:spPr/>
      <dgm:t>
        <a:bodyPr/>
        <a:lstStyle/>
        <a:p>
          <a:r>
            <a:rPr lang="de-DE" sz="1400" dirty="0"/>
            <a:t>Auswahl und </a:t>
          </a:r>
          <a:r>
            <a:rPr lang="de-DE" sz="1400" b="1" dirty="0"/>
            <a:t>Normierung</a:t>
          </a:r>
          <a:r>
            <a:rPr lang="de-DE" sz="1400" dirty="0"/>
            <a:t> Input- und </a:t>
          </a:r>
          <a:r>
            <a:rPr lang="de-DE" sz="1400" dirty="0" err="1"/>
            <a:t>Outputgrößen</a:t>
          </a:r>
          <a:endParaRPr lang="de-DE" sz="1400" dirty="0"/>
        </a:p>
      </dgm:t>
    </dgm:pt>
    <dgm:pt modelId="{A7DACED2-4D39-4496-A727-B86E371D7662}" type="parTrans" cxnId="{2D97FCD8-5F90-44F8-A6A4-65486C470621}">
      <dgm:prSet/>
      <dgm:spPr/>
      <dgm:t>
        <a:bodyPr/>
        <a:lstStyle/>
        <a:p>
          <a:endParaRPr lang="de-DE" sz="1400"/>
        </a:p>
      </dgm:t>
    </dgm:pt>
    <dgm:pt modelId="{B9F47839-0E49-40F6-925B-9C3CEF9B85D7}" type="sibTrans" cxnId="{2D97FCD8-5F90-44F8-A6A4-65486C470621}">
      <dgm:prSet/>
      <dgm:spPr/>
      <dgm:t>
        <a:bodyPr/>
        <a:lstStyle/>
        <a:p>
          <a:endParaRPr lang="de-DE" sz="1400"/>
        </a:p>
      </dgm:t>
    </dgm:pt>
    <dgm:pt modelId="{0E84909A-C494-4C20-93A1-8C98E8666A39}">
      <dgm:prSet phldrT="[Text]" custT="1"/>
      <dgm:spPr/>
      <dgm:t>
        <a:bodyPr/>
        <a:lstStyle/>
        <a:p>
          <a:r>
            <a:rPr lang="de-DE" sz="1400" dirty="0"/>
            <a:t>Vorbereitung der Daten</a:t>
          </a:r>
        </a:p>
      </dgm:t>
    </dgm:pt>
    <dgm:pt modelId="{71BF0461-DC0D-436B-8580-330EC939315A}" type="parTrans" cxnId="{32B9B3E8-2B33-474F-BB24-C4861D53E7EE}">
      <dgm:prSet/>
      <dgm:spPr/>
      <dgm:t>
        <a:bodyPr/>
        <a:lstStyle/>
        <a:p>
          <a:endParaRPr lang="de-DE" sz="1400"/>
        </a:p>
      </dgm:t>
    </dgm:pt>
    <dgm:pt modelId="{6D49113F-F609-4566-8016-69FAC31BAD68}" type="sibTrans" cxnId="{32B9B3E8-2B33-474F-BB24-C4861D53E7EE}">
      <dgm:prSet/>
      <dgm:spPr/>
      <dgm:t>
        <a:bodyPr/>
        <a:lstStyle/>
        <a:p>
          <a:endParaRPr lang="de-DE" sz="1400"/>
        </a:p>
      </dgm:t>
    </dgm:pt>
    <dgm:pt modelId="{F71ACEB4-4B5C-498A-911D-A9435AA10741}">
      <dgm:prSet phldrT="[Text]" custT="1"/>
      <dgm:spPr/>
      <dgm:t>
        <a:bodyPr/>
        <a:lstStyle/>
        <a:p>
          <a:r>
            <a:rPr lang="de-DE" sz="1400" dirty="0"/>
            <a:t>Trennung Trainings-, Validierungs-, und Testdaten</a:t>
          </a:r>
        </a:p>
      </dgm:t>
    </dgm:pt>
    <dgm:pt modelId="{A632CA68-8ED0-4F1B-A322-B63B54E50BAC}" type="parTrans" cxnId="{A04EFE56-B951-4BDF-BCCF-0320F95F94ED}">
      <dgm:prSet/>
      <dgm:spPr/>
      <dgm:t>
        <a:bodyPr/>
        <a:lstStyle/>
        <a:p>
          <a:endParaRPr lang="de-DE" sz="1400"/>
        </a:p>
      </dgm:t>
    </dgm:pt>
    <dgm:pt modelId="{4C38089B-5FD9-467D-87AB-F194BC6FCC37}" type="sibTrans" cxnId="{A04EFE56-B951-4BDF-BCCF-0320F95F94ED}">
      <dgm:prSet/>
      <dgm:spPr/>
      <dgm:t>
        <a:bodyPr/>
        <a:lstStyle/>
        <a:p>
          <a:endParaRPr lang="de-DE" sz="1400"/>
        </a:p>
      </dgm:t>
    </dgm:pt>
    <dgm:pt modelId="{7874D0C4-8F14-4D0D-A6E3-A0823C2D32B6}">
      <dgm:prSet phldrT="[Text]" custT="1"/>
      <dgm:spPr/>
      <dgm:t>
        <a:bodyPr/>
        <a:lstStyle/>
        <a:p>
          <a:r>
            <a:rPr lang="de-DE" sz="1400" dirty="0"/>
            <a:t>Zuschnitt von X und Y aus der Datensequenz</a:t>
          </a:r>
        </a:p>
      </dgm:t>
    </dgm:pt>
    <dgm:pt modelId="{4CF5C90A-380F-49C9-AE2C-A2DF5B3D2862}" type="parTrans" cxnId="{FE8E6352-A2A0-4B0D-9FBD-2750D893523B}">
      <dgm:prSet/>
      <dgm:spPr/>
      <dgm:t>
        <a:bodyPr/>
        <a:lstStyle/>
        <a:p>
          <a:endParaRPr lang="de-DE"/>
        </a:p>
      </dgm:t>
    </dgm:pt>
    <dgm:pt modelId="{D003E0C1-FB9D-4F1E-8714-2E8846B79D9A}" type="sibTrans" cxnId="{FE8E6352-A2A0-4B0D-9FBD-2750D893523B}">
      <dgm:prSet/>
      <dgm:spPr/>
      <dgm:t>
        <a:bodyPr/>
        <a:lstStyle/>
        <a:p>
          <a:endParaRPr lang="de-DE"/>
        </a:p>
      </dgm:t>
    </dgm:pt>
    <dgm:pt modelId="{44ECAD65-1697-4C5D-B562-6E679A8F2893}">
      <dgm:prSet phldrT="[Text]" custT="1"/>
      <dgm:spPr/>
      <dgm:t>
        <a:bodyPr/>
        <a:lstStyle/>
        <a:p>
          <a:r>
            <a:rPr lang="de-DE" sz="1400" dirty="0"/>
            <a:t>Aufbau des neuronalen Netzes</a:t>
          </a:r>
        </a:p>
      </dgm:t>
    </dgm:pt>
    <dgm:pt modelId="{A60CA8B5-0168-42CE-B8A3-C3CABA75901F}" type="parTrans" cxnId="{AC40C63E-A62E-4456-A940-1086D86693F2}">
      <dgm:prSet/>
      <dgm:spPr/>
      <dgm:t>
        <a:bodyPr/>
        <a:lstStyle/>
        <a:p>
          <a:endParaRPr lang="de-DE"/>
        </a:p>
      </dgm:t>
    </dgm:pt>
    <dgm:pt modelId="{5F5F62A4-5845-4D7D-8B37-8D6B9C970938}" type="sibTrans" cxnId="{AC40C63E-A62E-4456-A940-1086D86693F2}">
      <dgm:prSet/>
      <dgm:spPr/>
      <dgm:t>
        <a:bodyPr/>
        <a:lstStyle/>
        <a:p>
          <a:endParaRPr lang="de-DE"/>
        </a:p>
      </dgm:t>
    </dgm:pt>
    <dgm:pt modelId="{C992BF9B-F5DF-4A67-8489-32293F488764}">
      <dgm:prSet phldrT="[Text]" custT="1"/>
      <dgm:spPr/>
      <dgm:t>
        <a:bodyPr/>
        <a:lstStyle/>
        <a:p>
          <a:r>
            <a:rPr lang="de-DE" sz="1400" dirty="0"/>
            <a:t>Anzahl der Schichten</a:t>
          </a:r>
        </a:p>
      </dgm:t>
    </dgm:pt>
    <dgm:pt modelId="{6EA3391F-B4FB-4CFE-9E82-43852D2CDA63}" type="parTrans" cxnId="{C1F42D73-46AB-43A3-B31E-7650C24DC060}">
      <dgm:prSet/>
      <dgm:spPr/>
      <dgm:t>
        <a:bodyPr/>
        <a:lstStyle/>
        <a:p>
          <a:endParaRPr lang="de-DE"/>
        </a:p>
      </dgm:t>
    </dgm:pt>
    <dgm:pt modelId="{CDBB932F-E68B-4032-9628-8FD4DFF37A6D}" type="sibTrans" cxnId="{C1F42D73-46AB-43A3-B31E-7650C24DC060}">
      <dgm:prSet/>
      <dgm:spPr/>
      <dgm:t>
        <a:bodyPr/>
        <a:lstStyle/>
        <a:p>
          <a:endParaRPr lang="de-DE"/>
        </a:p>
      </dgm:t>
    </dgm:pt>
    <dgm:pt modelId="{84EFE87B-7342-4652-83C4-61FE8B845FF7}">
      <dgm:prSet phldrT="[Text]" custT="1"/>
      <dgm:spPr/>
      <dgm:t>
        <a:bodyPr/>
        <a:lstStyle/>
        <a:p>
          <a:r>
            <a:rPr lang="de-DE" sz="1400" dirty="0"/>
            <a:t>Typ der Schichten</a:t>
          </a:r>
        </a:p>
      </dgm:t>
    </dgm:pt>
    <dgm:pt modelId="{0BA49E36-C4A2-44CF-8369-14E8BF94F6B4}" type="parTrans" cxnId="{69CB778E-8F28-4976-A6E2-2F56E2AB1074}">
      <dgm:prSet/>
      <dgm:spPr/>
      <dgm:t>
        <a:bodyPr/>
        <a:lstStyle/>
        <a:p>
          <a:endParaRPr lang="de-DE"/>
        </a:p>
      </dgm:t>
    </dgm:pt>
    <dgm:pt modelId="{95027CCA-0E4A-4E64-AB0F-704BA3CF558E}" type="sibTrans" cxnId="{69CB778E-8F28-4976-A6E2-2F56E2AB1074}">
      <dgm:prSet/>
      <dgm:spPr/>
      <dgm:t>
        <a:bodyPr/>
        <a:lstStyle/>
        <a:p>
          <a:endParaRPr lang="de-DE"/>
        </a:p>
      </dgm:t>
    </dgm:pt>
    <dgm:pt modelId="{1B226A70-8804-47CB-BBB4-09F55732B0E9}">
      <dgm:prSet phldrT="[Text]" custT="1"/>
      <dgm:spPr/>
      <dgm:t>
        <a:bodyPr/>
        <a:lstStyle/>
        <a:p>
          <a:r>
            <a:rPr lang="de-DE" sz="1400" dirty="0"/>
            <a:t>Art der Aktivierung</a:t>
          </a:r>
        </a:p>
      </dgm:t>
    </dgm:pt>
    <dgm:pt modelId="{DF5905AB-9E9A-4ACE-94E8-F0301A413D55}" type="parTrans" cxnId="{A164FB7B-8CEF-495B-A0A0-5C6408DD9A6B}">
      <dgm:prSet/>
      <dgm:spPr/>
      <dgm:t>
        <a:bodyPr/>
        <a:lstStyle/>
        <a:p>
          <a:endParaRPr lang="de-DE"/>
        </a:p>
      </dgm:t>
    </dgm:pt>
    <dgm:pt modelId="{D61B6B44-2914-453B-88EC-9067F7955B79}" type="sibTrans" cxnId="{A164FB7B-8CEF-495B-A0A0-5C6408DD9A6B}">
      <dgm:prSet/>
      <dgm:spPr/>
      <dgm:t>
        <a:bodyPr/>
        <a:lstStyle/>
        <a:p>
          <a:endParaRPr lang="de-DE"/>
        </a:p>
      </dgm:t>
    </dgm:pt>
    <dgm:pt modelId="{5D62F6B2-779A-4555-9EEF-3D6BBE9BA67D}">
      <dgm:prSet phldrT="[Text]" custT="1"/>
      <dgm:spPr/>
      <dgm:t>
        <a:bodyPr/>
        <a:lstStyle/>
        <a:p>
          <a:r>
            <a:rPr lang="de-DE" sz="1400" dirty="0"/>
            <a:t>Anzahl der Neuronen pro Schicht</a:t>
          </a:r>
        </a:p>
      </dgm:t>
    </dgm:pt>
    <dgm:pt modelId="{9C718D8F-4249-40F0-8924-CAE292BD8134}" type="parTrans" cxnId="{B0F16946-BC3F-4356-952A-772D505A9A4C}">
      <dgm:prSet/>
      <dgm:spPr/>
      <dgm:t>
        <a:bodyPr/>
        <a:lstStyle/>
        <a:p>
          <a:endParaRPr lang="de-DE"/>
        </a:p>
      </dgm:t>
    </dgm:pt>
    <dgm:pt modelId="{38CC95CE-948F-4E74-8EEE-18F5432BD95F}" type="sibTrans" cxnId="{B0F16946-BC3F-4356-952A-772D505A9A4C}">
      <dgm:prSet/>
      <dgm:spPr/>
      <dgm:t>
        <a:bodyPr/>
        <a:lstStyle/>
        <a:p>
          <a:endParaRPr lang="de-DE"/>
        </a:p>
      </dgm:t>
    </dgm:pt>
    <dgm:pt modelId="{81C23169-FAEF-4BDE-A069-966731337945}">
      <dgm:prSet phldrT="[Text]" custT="1"/>
      <dgm:spPr/>
      <dgm:t>
        <a:bodyPr/>
        <a:lstStyle/>
        <a:p>
          <a:r>
            <a:rPr lang="de-DE" sz="1400" dirty="0"/>
            <a:t>Festlegung der Hyperparameter</a:t>
          </a:r>
        </a:p>
      </dgm:t>
    </dgm:pt>
    <dgm:pt modelId="{4D713B38-D43B-4F2C-A6F0-08C7AA4D3370}" type="parTrans" cxnId="{F50F42C3-DEAE-4D93-BB7D-AA872192B9C4}">
      <dgm:prSet/>
      <dgm:spPr/>
      <dgm:t>
        <a:bodyPr/>
        <a:lstStyle/>
        <a:p>
          <a:endParaRPr lang="de-DE"/>
        </a:p>
      </dgm:t>
    </dgm:pt>
    <dgm:pt modelId="{C1ACA79D-2AFE-4BC8-B567-0EF8554B02A5}" type="sibTrans" cxnId="{F50F42C3-DEAE-4D93-BB7D-AA872192B9C4}">
      <dgm:prSet/>
      <dgm:spPr/>
      <dgm:t>
        <a:bodyPr/>
        <a:lstStyle/>
        <a:p>
          <a:endParaRPr lang="de-DE"/>
        </a:p>
      </dgm:t>
    </dgm:pt>
    <dgm:pt modelId="{7F15262A-DA1E-4F75-AF5C-40C854D60A85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r Verlustfunktion</a:t>
          </a:r>
        </a:p>
      </dgm:t>
    </dgm:pt>
    <dgm:pt modelId="{5DBBA9DE-11F2-4301-93EF-CE04C19F8E9A}" type="parTrans" cxnId="{50261516-879C-4FEF-BF6D-0D60F97B5456}">
      <dgm:prSet/>
      <dgm:spPr/>
      <dgm:t>
        <a:bodyPr/>
        <a:lstStyle/>
        <a:p>
          <a:endParaRPr lang="de-DE"/>
        </a:p>
      </dgm:t>
    </dgm:pt>
    <dgm:pt modelId="{56EB540A-6D2D-4554-A09B-585773FCE023}" type="sibTrans" cxnId="{50261516-879C-4FEF-BF6D-0D60F97B5456}">
      <dgm:prSet/>
      <dgm:spPr/>
      <dgm:t>
        <a:bodyPr/>
        <a:lstStyle/>
        <a:p>
          <a:endParaRPr lang="de-DE"/>
        </a:p>
      </dgm:t>
    </dgm:pt>
    <dgm:pt modelId="{5DD3229C-C5DD-4A39-AC85-FB71E89C71F2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r Epochen</a:t>
          </a:r>
        </a:p>
      </dgm:t>
    </dgm:pt>
    <dgm:pt modelId="{9C51C98F-DDD3-443E-95F7-8A866A8AE0A9}" type="parTrans" cxnId="{2E51088B-9FAB-41AA-87BD-E10362056E67}">
      <dgm:prSet/>
      <dgm:spPr/>
      <dgm:t>
        <a:bodyPr/>
        <a:lstStyle/>
        <a:p>
          <a:endParaRPr lang="de-DE"/>
        </a:p>
      </dgm:t>
    </dgm:pt>
    <dgm:pt modelId="{12C8C82F-35DD-4E7C-A589-52CE46109E46}" type="sibTrans" cxnId="{2E51088B-9FAB-41AA-87BD-E10362056E67}">
      <dgm:prSet/>
      <dgm:spPr/>
      <dgm:t>
        <a:bodyPr/>
        <a:lstStyle/>
        <a:p>
          <a:endParaRPr lang="de-DE"/>
        </a:p>
      </dgm:t>
    </dgm:pt>
    <dgm:pt modelId="{92597F4D-A44C-4CC4-A379-3C95A7F5E23C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 dirty="0"/>
            <a:t>Wahl des Optimierungsmechanismus</a:t>
          </a:r>
        </a:p>
      </dgm:t>
    </dgm:pt>
    <dgm:pt modelId="{4025FE31-87D2-40C4-B673-01263BBE517A}" type="parTrans" cxnId="{19EAB137-E2DE-48AA-9153-4A0EC6740EE9}">
      <dgm:prSet/>
      <dgm:spPr/>
      <dgm:t>
        <a:bodyPr/>
        <a:lstStyle/>
        <a:p>
          <a:endParaRPr lang="de-DE"/>
        </a:p>
      </dgm:t>
    </dgm:pt>
    <dgm:pt modelId="{B7649C1B-6D88-4604-82EF-4DDB46E25CA8}" type="sibTrans" cxnId="{19EAB137-E2DE-48AA-9153-4A0EC6740EE9}">
      <dgm:prSet/>
      <dgm:spPr/>
      <dgm:t>
        <a:bodyPr/>
        <a:lstStyle/>
        <a:p>
          <a:endParaRPr lang="de-DE"/>
        </a:p>
      </dgm:t>
    </dgm:pt>
    <dgm:pt modelId="{BE3B2D11-EB8B-471B-A7DC-502504D9C8F1}">
      <dgm:prSet phldrT="[Text]" custT="1"/>
      <dgm:spPr/>
      <dgm:t>
        <a:bodyPr/>
        <a:lstStyle/>
        <a:p>
          <a:pPr marL="114300" lvl="1" indent="0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</a:pPr>
          <a:r>
            <a:rPr lang="de-DE" sz="1400"/>
            <a:t>Wahl der Parameter des Optimierungsmechanismus</a:t>
          </a:r>
          <a:endParaRPr lang="de-DE" sz="1400" dirty="0"/>
        </a:p>
      </dgm:t>
    </dgm:pt>
    <dgm:pt modelId="{7D43578C-E5F9-4B56-8FFA-B1DEC8A62CED}" type="parTrans" cxnId="{91DB1952-6F61-46B1-AA6D-EEF8FD212429}">
      <dgm:prSet/>
      <dgm:spPr/>
      <dgm:t>
        <a:bodyPr/>
        <a:lstStyle/>
        <a:p>
          <a:endParaRPr lang="de-DE"/>
        </a:p>
      </dgm:t>
    </dgm:pt>
    <dgm:pt modelId="{FE4A7049-02FF-4273-86C0-6C8EA8B40CEE}" type="sibTrans" cxnId="{91DB1952-6F61-46B1-AA6D-EEF8FD212429}">
      <dgm:prSet/>
      <dgm:spPr/>
      <dgm:t>
        <a:bodyPr/>
        <a:lstStyle/>
        <a:p>
          <a:endParaRPr lang="de-DE"/>
        </a:p>
      </dgm:t>
    </dgm:pt>
    <dgm:pt modelId="{4C84E1FB-F406-4664-A669-0CDE3BBD5BA0}" type="pres">
      <dgm:prSet presAssocID="{2ABBB57F-1732-4FA3-A876-8CB78B7C7083}" presName="linear" presStyleCnt="0">
        <dgm:presLayoutVars>
          <dgm:animLvl val="lvl"/>
          <dgm:resizeHandles val="exact"/>
        </dgm:presLayoutVars>
      </dgm:prSet>
      <dgm:spPr/>
    </dgm:pt>
    <dgm:pt modelId="{C328561F-3389-4EF8-A729-05D8C9BACB36}" type="pres">
      <dgm:prSet presAssocID="{82B203FF-C5C8-40CC-84F2-DEC2CD2276DF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627FE9A7-F57C-418C-814B-8629F18B4596}" type="pres">
      <dgm:prSet presAssocID="{82B203FF-C5C8-40CC-84F2-DEC2CD2276DF}" presName="childText" presStyleLbl="revTx" presStyleIdx="0" presStyleCnt="4">
        <dgm:presLayoutVars>
          <dgm:bulletEnabled val="1"/>
        </dgm:presLayoutVars>
      </dgm:prSet>
      <dgm:spPr/>
    </dgm:pt>
    <dgm:pt modelId="{FF5983FE-E4DE-4E57-AAD4-E6C799C9C3AA}" type="pres">
      <dgm:prSet presAssocID="{0E84909A-C494-4C20-93A1-8C98E8666A39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9477F54-E1FB-47C5-89CE-3DA20E89F061}" type="pres">
      <dgm:prSet presAssocID="{0E84909A-C494-4C20-93A1-8C98E8666A39}" presName="childText" presStyleLbl="revTx" presStyleIdx="1" presStyleCnt="4">
        <dgm:presLayoutVars>
          <dgm:bulletEnabled val="1"/>
        </dgm:presLayoutVars>
      </dgm:prSet>
      <dgm:spPr/>
    </dgm:pt>
    <dgm:pt modelId="{733F7779-83BA-4DAE-BCFA-18BC404F6FA0}" type="pres">
      <dgm:prSet presAssocID="{44ECAD65-1697-4C5D-B562-6E679A8F2893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05ABDD20-A1EA-4974-B05F-0EC19E638766}" type="pres">
      <dgm:prSet presAssocID="{44ECAD65-1697-4C5D-B562-6E679A8F2893}" presName="childText" presStyleLbl="revTx" presStyleIdx="2" presStyleCnt="4">
        <dgm:presLayoutVars>
          <dgm:bulletEnabled val="1"/>
        </dgm:presLayoutVars>
      </dgm:prSet>
      <dgm:spPr/>
    </dgm:pt>
    <dgm:pt modelId="{ABB4A065-1986-433F-9690-CAC2A70B2D57}" type="pres">
      <dgm:prSet presAssocID="{81C23169-FAEF-4BDE-A069-966731337945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1F1668FF-B4F3-4071-B1F3-F96CF274091A}" type="pres">
      <dgm:prSet presAssocID="{81C23169-FAEF-4BDE-A069-966731337945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E10BFA04-10BF-4F7E-B869-71321779B465}" type="presOf" srcId="{82B203FF-C5C8-40CC-84F2-DEC2CD2276DF}" destId="{C328561F-3389-4EF8-A729-05D8C9BACB36}" srcOrd="0" destOrd="0" presId="urn:microsoft.com/office/officeart/2005/8/layout/vList2"/>
    <dgm:cxn modelId="{D4039B09-547C-454A-97C7-53E71AE0F734}" type="presOf" srcId="{F71ACEB4-4B5C-498A-911D-A9435AA10741}" destId="{F9477F54-E1FB-47C5-89CE-3DA20E89F061}" srcOrd="0" destOrd="0" presId="urn:microsoft.com/office/officeart/2005/8/layout/vList2"/>
    <dgm:cxn modelId="{7F59590C-A3AD-473B-BBE1-7BAC0402E92D}" type="presOf" srcId="{1B226A70-8804-47CB-BBB4-09F55732B0E9}" destId="{05ABDD20-A1EA-4974-B05F-0EC19E638766}" srcOrd="0" destOrd="2" presId="urn:microsoft.com/office/officeart/2005/8/layout/vList2"/>
    <dgm:cxn modelId="{F38B6713-3359-484E-987D-E1BB338E5031}" type="presOf" srcId="{92597F4D-A44C-4CC4-A379-3C95A7F5E23C}" destId="{1F1668FF-B4F3-4071-B1F3-F96CF274091A}" srcOrd="0" destOrd="2" presId="urn:microsoft.com/office/officeart/2005/8/layout/vList2"/>
    <dgm:cxn modelId="{50261516-879C-4FEF-BF6D-0D60F97B5456}" srcId="{81C23169-FAEF-4BDE-A069-966731337945}" destId="{7F15262A-DA1E-4F75-AF5C-40C854D60A85}" srcOrd="0" destOrd="0" parTransId="{5DBBA9DE-11F2-4301-93EF-CE04C19F8E9A}" sibTransId="{56EB540A-6D2D-4554-A09B-585773FCE023}"/>
    <dgm:cxn modelId="{680D431B-2412-4227-A131-4A18862698AD}" type="presOf" srcId="{D5CEBF60-33A4-41FE-8B46-D24E77BA0543}" destId="{627FE9A7-F57C-418C-814B-8629F18B4596}" srcOrd="0" destOrd="0" presId="urn:microsoft.com/office/officeart/2005/8/layout/vList2"/>
    <dgm:cxn modelId="{82DEBE24-7317-4A42-B72B-189344B89A98}" type="presOf" srcId="{2ABBB57F-1732-4FA3-A876-8CB78B7C7083}" destId="{4C84E1FB-F406-4664-A669-0CDE3BBD5BA0}" srcOrd="0" destOrd="0" presId="urn:microsoft.com/office/officeart/2005/8/layout/vList2"/>
    <dgm:cxn modelId="{19EAB137-E2DE-48AA-9153-4A0EC6740EE9}" srcId="{81C23169-FAEF-4BDE-A069-966731337945}" destId="{92597F4D-A44C-4CC4-A379-3C95A7F5E23C}" srcOrd="2" destOrd="0" parTransId="{4025FE31-87D2-40C4-B673-01263BBE517A}" sibTransId="{B7649C1B-6D88-4604-82EF-4DDB46E25CA8}"/>
    <dgm:cxn modelId="{5A17DE37-9763-4DCA-9593-D630ED420338}" type="presOf" srcId="{5DD3229C-C5DD-4A39-AC85-FB71E89C71F2}" destId="{1F1668FF-B4F3-4071-B1F3-F96CF274091A}" srcOrd="0" destOrd="1" presId="urn:microsoft.com/office/officeart/2005/8/layout/vList2"/>
    <dgm:cxn modelId="{3D05153E-0B27-4ACC-A912-52746F6912FD}" type="presOf" srcId="{0E84909A-C494-4C20-93A1-8C98E8666A39}" destId="{FF5983FE-E4DE-4E57-AAD4-E6C799C9C3AA}" srcOrd="0" destOrd="0" presId="urn:microsoft.com/office/officeart/2005/8/layout/vList2"/>
    <dgm:cxn modelId="{AC40C63E-A62E-4456-A940-1086D86693F2}" srcId="{2ABBB57F-1732-4FA3-A876-8CB78B7C7083}" destId="{44ECAD65-1697-4C5D-B562-6E679A8F2893}" srcOrd="2" destOrd="0" parTransId="{A60CA8B5-0168-42CE-B8A3-C3CABA75901F}" sibTransId="{5F5F62A4-5845-4D7D-8B37-8D6B9C970938}"/>
    <dgm:cxn modelId="{582F5061-317B-48FE-9458-76EFC259B0CF}" type="presOf" srcId="{84EFE87B-7342-4652-83C4-61FE8B845FF7}" destId="{05ABDD20-A1EA-4974-B05F-0EC19E638766}" srcOrd="0" destOrd="1" presId="urn:microsoft.com/office/officeart/2005/8/layout/vList2"/>
    <dgm:cxn modelId="{B0F16946-BC3F-4356-952A-772D505A9A4C}" srcId="{44ECAD65-1697-4C5D-B562-6E679A8F2893}" destId="{5D62F6B2-779A-4555-9EEF-3D6BBE9BA67D}" srcOrd="3" destOrd="0" parTransId="{9C718D8F-4249-40F0-8924-CAE292BD8134}" sibTransId="{38CC95CE-948F-4E74-8EEE-18F5432BD95F}"/>
    <dgm:cxn modelId="{91DB1952-6F61-46B1-AA6D-EEF8FD212429}" srcId="{81C23169-FAEF-4BDE-A069-966731337945}" destId="{BE3B2D11-EB8B-471B-A7DC-502504D9C8F1}" srcOrd="3" destOrd="0" parTransId="{7D43578C-E5F9-4B56-8FFA-B1DEC8A62CED}" sibTransId="{FE4A7049-02FF-4273-86C0-6C8EA8B40CEE}"/>
    <dgm:cxn modelId="{FE8E6352-A2A0-4B0D-9FBD-2750D893523B}" srcId="{0E84909A-C494-4C20-93A1-8C98E8666A39}" destId="{7874D0C4-8F14-4D0D-A6E3-A0823C2D32B6}" srcOrd="1" destOrd="0" parTransId="{4CF5C90A-380F-49C9-AE2C-A2DF5B3D2862}" sibTransId="{D003E0C1-FB9D-4F1E-8714-2E8846B79D9A}"/>
    <dgm:cxn modelId="{C1F42D73-46AB-43A3-B31E-7650C24DC060}" srcId="{44ECAD65-1697-4C5D-B562-6E679A8F2893}" destId="{C992BF9B-F5DF-4A67-8489-32293F488764}" srcOrd="0" destOrd="0" parTransId="{6EA3391F-B4FB-4CFE-9E82-43852D2CDA63}" sibTransId="{CDBB932F-E68B-4032-9628-8FD4DFF37A6D}"/>
    <dgm:cxn modelId="{A04EFE56-B951-4BDF-BCCF-0320F95F94ED}" srcId="{0E84909A-C494-4C20-93A1-8C98E8666A39}" destId="{F71ACEB4-4B5C-498A-911D-A9435AA10741}" srcOrd="0" destOrd="0" parTransId="{A632CA68-8ED0-4F1B-A322-B63B54E50BAC}" sibTransId="{4C38089B-5FD9-467D-87AB-F194BC6FCC37}"/>
    <dgm:cxn modelId="{C8204C77-EC8D-416B-AADB-467166ECC10B}" type="presOf" srcId="{44ECAD65-1697-4C5D-B562-6E679A8F2893}" destId="{733F7779-83BA-4DAE-BCFA-18BC404F6FA0}" srcOrd="0" destOrd="0" presId="urn:microsoft.com/office/officeart/2005/8/layout/vList2"/>
    <dgm:cxn modelId="{A164FB7B-8CEF-495B-A0A0-5C6408DD9A6B}" srcId="{44ECAD65-1697-4C5D-B562-6E679A8F2893}" destId="{1B226A70-8804-47CB-BBB4-09F55732B0E9}" srcOrd="2" destOrd="0" parTransId="{DF5905AB-9E9A-4ACE-94E8-F0301A413D55}" sibTransId="{D61B6B44-2914-453B-88EC-9067F7955B79}"/>
    <dgm:cxn modelId="{2E51088B-9FAB-41AA-87BD-E10362056E67}" srcId="{81C23169-FAEF-4BDE-A069-966731337945}" destId="{5DD3229C-C5DD-4A39-AC85-FB71E89C71F2}" srcOrd="1" destOrd="0" parTransId="{9C51C98F-DDD3-443E-95F7-8A866A8AE0A9}" sibTransId="{12C8C82F-35DD-4E7C-A589-52CE46109E46}"/>
    <dgm:cxn modelId="{69CB778E-8F28-4976-A6E2-2F56E2AB1074}" srcId="{44ECAD65-1697-4C5D-B562-6E679A8F2893}" destId="{84EFE87B-7342-4652-83C4-61FE8B845FF7}" srcOrd="1" destOrd="0" parTransId="{0BA49E36-C4A2-44CF-8369-14E8BF94F6B4}" sibTransId="{95027CCA-0E4A-4E64-AB0F-704BA3CF558E}"/>
    <dgm:cxn modelId="{EC580993-FDEA-4C53-AA05-CCFCABC9392D}" type="presOf" srcId="{7F15262A-DA1E-4F75-AF5C-40C854D60A85}" destId="{1F1668FF-B4F3-4071-B1F3-F96CF274091A}" srcOrd="0" destOrd="0" presId="urn:microsoft.com/office/officeart/2005/8/layout/vList2"/>
    <dgm:cxn modelId="{24B303B5-6CCF-4750-BD2A-498C4510C2EC}" type="presOf" srcId="{81C23169-FAEF-4BDE-A069-966731337945}" destId="{ABB4A065-1986-433F-9690-CAC2A70B2D57}" srcOrd="0" destOrd="0" presId="urn:microsoft.com/office/officeart/2005/8/layout/vList2"/>
    <dgm:cxn modelId="{F50F42C3-DEAE-4D93-BB7D-AA872192B9C4}" srcId="{2ABBB57F-1732-4FA3-A876-8CB78B7C7083}" destId="{81C23169-FAEF-4BDE-A069-966731337945}" srcOrd="3" destOrd="0" parTransId="{4D713B38-D43B-4F2C-A6F0-08C7AA4D3370}" sibTransId="{C1ACA79D-2AFE-4BC8-B567-0EF8554B02A5}"/>
    <dgm:cxn modelId="{31E9A9C8-BF9A-4388-B84F-4B882F30A9D8}" srcId="{2ABBB57F-1732-4FA3-A876-8CB78B7C7083}" destId="{82B203FF-C5C8-40CC-84F2-DEC2CD2276DF}" srcOrd="0" destOrd="0" parTransId="{787E06A3-FFE7-4AB2-A8E4-AB339300753A}" sibTransId="{6214A214-738C-4E41-AEC9-52578E356B70}"/>
    <dgm:cxn modelId="{2D97FCD8-5F90-44F8-A6A4-65486C470621}" srcId="{82B203FF-C5C8-40CC-84F2-DEC2CD2276DF}" destId="{D5CEBF60-33A4-41FE-8B46-D24E77BA0543}" srcOrd="0" destOrd="0" parTransId="{A7DACED2-4D39-4496-A727-B86E371D7662}" sibTransId="{B9F47839-0E49-40F6-925B-9C3CEF9B85D7}"/>
    <dgm:cxn modelId="{89C306DF-83AA-4256-A022-35ECFD94C515}" type="presOf" srcId="{5D62F6B2-779A-4555-9EEF-3D6BBE9BA67D}" destId="{05ABDD20-A1EA-4974-B05F-0EC19E638766}" srcOrd="0" destOrd="3" presId="urn:microsoft.com/office/officeart/2005/8/layout/vList2"/>
    <dgm:cxn modelId="{1CAA2CE0-A974-4295-AD62-F983D73A4F29}" type="presOf" srcId="{C992BF9B-F5DF-4A67-8489-32293F488764}" destId="{05ABDD20-A1EA-4974-B05F-0EC19E638766}" srcOrd="0" destOrd="0" presId="urn:microsoft.com/office/officeart/2005/8/layout/vList2"/>
    <dgm:cxn modelId="{A8FFBDE6-42C0-4DC9-A00A-6481B300BE67}" type="presOf" srcId="{BE3B2D11-EB8B-471B-A7DC-502504D9C8F1}" destId="{1F1668FF-B4F3-4071-B1F3-F96CF274091A}" srcOrd="0" destOrd="3" presId="urn:microsoft.com/office/officeart/2005/8/layout/vList2"/>
    <dgm:cxn modelId="{32B9B3E8-2B33-474F-BB24-C4861D53E7EE}" srcId="{2ABBB57F-1732-4FA3-A876-8CB78B7C7083}" destId="{0E84909A-C494-4C20-93A1-8C98E8666A39}" srcOrd="1" destOrd="0" parTransId="{71BF0461-DC0D-436B-8580-330EC939315A}" sibTransId="{6D49113F-F609-4566-8016-69FAC31BAD68}"/>
    <dgm:cxn modelId="{6AE44BF9-73C0-4AD2-9722-619D100C30E7}" type="presOf" srcId="{7874D0C4-8F14-4D0D-A6E3-A0823C2D32B6}" destId="{F9477F54-E1FB-47C5-89CE-3DA20E89F061}" srcOrd="0" destOrd="1" presId="urn:microsoft.com/office/officeart/2005/8/layout/vList2"/>
    <dgm:cxn modelId="{44F49261-0F68-4340-8D0C-5BC8587466D3}" type="presParOf" srcId="{4C84E1FB-F406-4664-A669-0CDE3BBD5BA0}" destId="{C328561F-3389-4EF8-A729-05D8C9BACB36}" srcOrd="0" destOrd="0" presId="urn:microsoft.com/office/officeart/2005/8/layout/vList2"/>
    <dgm:cxn modelId="{33E768DC-03A9-4F97-948D-07F6738AF5A8}" type="presParOf" srcId="{4C84E1FB-F406-4664-A669-0CDE3BBD5BA0}" destId="{627FE9A7-F57C-418C-814B-8629F18B4596}" srcOrd="1" destOrd="0" presId="urn:microsoft.com/office/officeart/2005/8/layout/vList2"/>
    <dgm:cxn modelId="{D3789D04-C279-4B91-B8B1-33BE219A626A}" type="presParOf" srcId="{4C84E1FB-F406-4664-A669-0CDE3BBD5BA0}" destId="{FF5983FE-E4DE-4E57-AAD4-E6C799C9C3AA}" srcOrd="2" destOrd="0" presId="urn:microsoft.com/office/officeart/2005/8/layout/vList2"/>
    <dgm:cxn modelId="{A3C3E3D0-A856-4368-A166-2CC15AC92CDF}" type="presParOf" srcId="{4C84E1FB-F406-4664-A669-0CDE3BBD5BA0}" destId="{F9477F54-E1FB-47C5-89CE-3DA20E89F061}" srcOrd="3" destOrd="0" presId="urn:microsoft.com/office/officeart/2005/8/layout/vList2"/>
    <dgm:cxn modelId="{135E2765-83A0-4CD5-AB3F-CDCC73ECA3DC}" type="presParOf" srcId="{4C84E1FB-F406-4664-A669-0CDE3BBD5BA0}" destId="{733F7779-83BA-4DAE-BCFA-18BC404F6FA0}" srcOrd="4" destOrd="0" presId="urn:microsoft.com/office/officeart/2005/8/layout/vList2"/>
    <dgm:cxn modelId="{94F50165-3763-46BE-A0D6-5F1F00107404}" type="presParOf" srcId="{4C84E1FB-F406-4664-A669-0CDE3BBD5BA0}" destId="{05ABDD20-A1EA-4974-B05F-0EC19E638766}" srcOrd="5" destOrd="0" presId="urn:microsoft.com/office/officeart/2005/8/layout/vList2"/>
    <dgm:cxn modelId="{5FBDC89D-6694-4134-BE22-8AC2B1F0701C}" type="presParOf" srcId="{4C84E1FB-F406-4664-A669-0CDE3BBD5BA0}" destId="{ABB4A065-1986-433F-9690-CAC2A70B2D57}" srcOrd="6" destOrd="0" presId="urn:microsoft.com/office/officeart/2005/8/layout/vList2"/>
    <dgm:cxn modelId="{1C249692-0C33-42C6-B78C-94F80A42C905}" type="presParOf" srcId="{4C84E1FB-F406-4664-A669-0CDE3BBD5BA0}" destId="{1F1668FF-B4F3-4071-B1F3-F96CF274091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6CC386-11BF-442B-A40D-52530E9B10C3}">
      <dsp:nvSpPr>
        <dsp:cNvPr id="0" name=""/>
        <dsp:cNvSpPr/>
      </dsp:nvSpPr>
      <dsp:spPr>
        <a:xfrm>
          <a:off x="7593410" y="1220697"/>
          <a:ext cx="170723" cy="21397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39733"/>
              </a:lnTo>
              <a:lnTo>
                <a:pt x="170723" y="2139733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AFCAA8-1D71-4841-BD45-2563174BDE09}">
      <dsp:nvSpPr>
        <dsp:cNvPr id="0" name=""/>
        <dsp:cNvSpPr/>
      </dsp:nvSpPr>
      <dsp:spPr>
        <a:xfrm>
          <a:off x="7593410" y="1220697"/>
          <a:ext cx="170723" cy="13316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31642"/>
              </a:lnTo>
              <a:lnTo>
                <a:pt x="170723" y="1331642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AC932B-E7A5-41CA-9075-A5814B1160C2}">
      <dsp:nvSpPr>
        <dsp:cNvPr id="0" name=""/>
        <dsp:cNvSpPr/>
      </dsp:nvSpPr>
      <dsp:spPr>
        <a:xfrm>
          <a:off x="7593410" y="1220697"/>
          <a:ext cx="170723" cy="5235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3551"/>
              </a:lnTo>
              <a:lnTo>
                <a:pt x="170723" y="52355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465A04-3AC5-4ED8-95C8-240B70BE49CC}">
      <dsp:nvSpPr>
        <dsp:cNvPr id="0" name=""/>
        <dsp:cNvSpPr/>
      </dsp:nvSpPr>
      <dsp:spPr>
        <a:xfrm>
          <a:off x="5294334" y="412606"/>
          <a:ext cx="2754338" cy="2390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9506"/>
              </a:lnTo>
              <a:lnTo>
                <a:pt x="2754338" y="119506"/>
              </a:lnTo>
              <a:lnTo>
                <a:pt x="2754338" y="23901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F5788C-5138-4CCE-A669-4A545CD1EC42}">
      <dsp:nvSpPr>
        <dsp:cNvPr id="0" name=""/>
        <dsp:cNvSpPr/>
      </dsp:nvSpPr>
      <dsp:spPr>
        <a:xfrm>
          <a:off x="6216241" y="1220697"/>
          <a:ext cx="170723" cy="13316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31642"/>
              </a:lnTo>
              <a:lnTo>
                <a:pt x="170723" y="1331642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9EBC90-A2E6-409A-B8C5-FFB1FD479B5D}">
      <dsp:nvSpPr>
        <dsp:cNvPr id="0" name=""/>
        <dsp:cNvSpPr/>
      </dsp:nvSpPr>
      <dsp:spPr>
        <a:xfrm>
          <a:off x="6216241" y="1220697"/>
          <a:ext cx="170723" cy="5235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3551"/>
              </a:lnTo>
              <a:lnTo>
                <a:pt x="170723" y="52355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FD1123-8C13-4A86-B8A9-9A99C310F562}">
      <dsp:nvSpPr>
        <dsp:cNvPr id="0" name=""/>
        <dsp:cNvSpPr/>
      </dsp:nvSpPr>
      <dsp:spPr>
        <a:xfrm>
          <a:off x="5294334" y="412606"/>
          <a:ext cx="1377169" cy="2390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9506"/>
              </a:lnTo>
              <a:lnTo>
                <a:pt x="1377169" y="119506"/>
              </a:lnTo>
              <a:lnTo>
                <a:pt x="1377169" y="23901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42E720-0C6C-424D-9C08-12001E1C6174}">
      <dsp:nvSpPr>
        <dsp:cNvPr id="0" name=""/>
        <dsp:cNvSpPr/>
      </dsp:nvSpPr>
      <dsp:spPr>
        <a:xfrm>
          <a:off x="4839071" y="1220697"/>
          <a:ext cx="170723" cy="29478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47824"/>
              </a:lnTo>
              <a:lnTo>
                <a:pt x="170723" y="294782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E988EA-188A-4BC1-89BC-727E70C2669E}">
      <dsp:nvSpPr>
        <dsp:cNvPr id="0" name=""/>
        <dsp:cNvSpPr/>
      </dsp:nvSpPr>
      <dsp:spPr>
        <a:xfrm>
          <a:off x="4839071" y="1220697"/>
          <a:ext cx="170723" cy="21397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39733"/>
              </a:lnTo>
              <a:lnTo>
                <a:pt x="170723" y="2139733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D254FB-89C2-49ED-9016-B119086A6EA4}">
      <dsp:nvSpPr>
        <dsp:cNvPr id="0" name=""/>
        <dsp:cNvSpPr/>
      </dsp:nvSpPr>
      <dsp:spPr>
        <a:xfrm>
          <a:off x="4839071" y="1220697"/>
          <a:ext cx="170723" cy="13316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31642"/>
              </a:lnTo>
              <a:lnTo>
                <a:pt x="170723" y="1331642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3217FD-37F8-4F1A-800E-A2A9A7AB9906}">
      <dsp:nvSpPr>
        <dsp:cNvPr id="0" name=""/>
        <dsp:cNvSpPr/>
      </dsp:nvSpPr>
      <dsp:spPr>
        <a:xfrm>
          <a:off x="4839071" y="1220697"/>
          <a:ext cx="170723" cy="5235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3551"/>
              </a:lnTo>
              <a:lnTo>
                <a:pt x="170723" y="52355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066622-77C2-47A9-A2F8-719A31D5779B}">
      <dsp:nvSpPr>
        <dsp:cNvPr id="0" name=""/>
        <dsp:cNvSpPr/>
      </dsp:nvSpPr>
      <dsp:spPr>
        <a:xfrm>
          <a:off x="5248614" y="412606"/>
          <a:ext cx="91440" cy="2390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901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0EC867-5FDE-47C2-AC7F-FEE059C2B228}">
      <dsp:nvSpPr>
        <dsp:cNvPr id="0" name=""/>
        <dsp:cNvSpPr/>
      </dsp:nvSpPr>
      <dsp:spPr>
        <a:xfrm>
          <a:off x="3461902" y="1220697"/>
          <a:ext cx="170723" cy="21397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39733"/>
              </a:lnTo>
              <a:lnTo>
                <a:pt x="170723" y="2139733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A0B410-9F94-4D4A-9933-4E1483CFD6B5}">
      <dsp:nvSpPr>
        <dsp:cNvPr id="0" name=""/>
        <dsp:cNvSpPr/>
      </dsp:nvSpPr>
      <dsp:spPr>
        <a:xfrm>
          <a:off x="3461902" y="1220697"/>
          <a:ext cx="170723" cy="13316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31642"/>
              </a:lnTo>
              <a:lnTo>
                <a:pt x="170723" y="1331642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54DB14-3D99-468B-AC16-BB4A1902D05D}">
      <dsp:nvSpPr>
        <dsp:cNvPr id="0" name=""/>
        <dsp:cNvSpPr/>
      </dsp:nvSpPr>
      <dsp:spPr>
        <a:xfrm>
          <a:off x="3461902" y="1220697"/>
          <a:ext cx="170723" cy="5235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3551"/>
              </a:lnTo>
              <a:lnTo>
                <a:pt x="170723" y="52355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504DB7-8904-4A62-BB35-325BF38AFF5E}">
      <dsp:nvSpPr>
        <dsp:cNvPr id="0" name=""/>
        <dsp:cNvSpPr/>
      </dsp:nvSpPr>
      <dsp:spPr>
        <a:xfrm>
          <a:off x="3917165" y="412606"/>
          <a:ext cx="1377169" cy="239012"/>
        </a:xfrm>
        <a:custGeom>
          <a:avLst/>
          <a:gdLst/>
          <a:ahLst/>
          <a:cxnLst/>
          <a:rect l="0" t="0" r="0" b="0"/>
          <a:pathLst>
            <a:path>
              <a:moveTo>
                <a:pt x="1377169" y="0"/>
              </a:moveTo>
              <a:lnTo>
                <a:pt x="1377169" y="119506"/>
              </a:lnTo>
              <a:lnTo>
                <a:pt x="0" y="119506"/>
              </a:lnTo>
              <a:lnTo>
                <a:pt x="0" y="23901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7637AC-FE18-4DA2-94F0-BE029A6EC09A}">
      <dsp:nvSpPr>
        <dsp:cNvPr id="0" name=""/>
        <dsp:cNvSpPr/>
      </dsp:nvSpPr>
      <dsp:spPr>
        <a:xfrm>
          <a:off x="2084733" y="1220697"/>
          <a:ext cx="170723" cy="21397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39733"/>
              </a:lnTo>
              <a:lnTo>
                <a:pt x="170723" y="2139733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7A26EB-E764-4593-B288-D79A4BB185F2}">
      <dsp:nvSpPr>
        <dsp:cNvPr id="0" name=""/>
        <dsp:cNvSpPr/>
      </dsp:nvSpPr>
      <dsp:spPr>
        <a:xfrm>
          <a:off x="2084733" y="1220697"/>
          <a:ext cx="170723" cy="13316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31642"/>
              </a:lnTo>
              <a:lnTo>
                <a:pt x="170723" y="1331642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C275B2-7DA6-4BFD-8A45-9C215050ACB2}">
      <dsp:nvSpPr>
        <dsp:cNvPr id="0" name=""/>
        <dsp:cNvSpPr/>
      </dsp:nvSpPr>
      <dsp:spPr>
        <a:xfrm>
          <a:off x="2084733" y="1220697"/>
          <a:ext cx="170723" cy="5235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3551"/>
              </a:lnTo>
              <a:lnTo>
                <a:pt x="170723" y="52355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217F90-DFEE-4E94-9A26-8DD985F15226}">
      <dsp:nvSpPr>
        <dsp:cNvPr id="0" name=""/>
        <dsp:cNvSpPr/>
      </dsp:nvSpPr>
      <dsp:spPr>
        <a:xfrm>
          <a:off x="2539996" y="412606"/>
          <a:ext cx="2754338" cy="239012"/>
        </a:xfrm>
        <a:custGeom>
          <a:avLst/>
          <a:gdLst/>
          <a:ahLst/>
          <a:cxnLst/>
          <a:rect l="0" t="0" r="0" b="0"/>
          <a:pathLst>
            <a:path>
              <a:moveTo>
                <a:pt x="2754338" y="0"/>
              </a:moveTo>
              <a:lnTo>
                <a:pt x="2754338" y="119506"/>
              </a:lnTo>
              <a:lnTo>
                <a:pt x="0" y="119506"/>
              </a:lnTo>
              <a:lnTo>
                <a:pt x="0" y="23901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DD1BF-DC39-4A16-AD41-260AE14ED4E6}">
      <dsp:nvSpPr>
        <dsp:cNvPr id="0" name=""/>
        <dsp:cNvSpPr/>
      </dsp:nvSpPr>
      <dsp:spPr>
        <a:xfrm>
          <a:off x="3020816" y="2540"/>
          <a:ext cx="4547036" cy="41006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latin typeface="Arial "/>
              <a:cs typeface="Arial" panose="020B0604020202020204" pitchFamily="34" charset="0"/>
            </a:rPr>
            <a:t>Energiedatenanalyse- Datamining</a:t>
          </a:r>
          <a:endParaRPr lang="de-DE" sz="1600" b="1" kern="1200" dirty="0">
            <a:latin typeface="Arial "/>
          </a:endParaRPr>
        </a:p>
      </dsp:txBody>
      <dsp:txXfrm>
        <a:off x="3020816" y="2540"/>
        <a:ext cx="4547036" cy="410066"/>
      </dsp:txXfrm>
    </dsp:sp>
    <dsp:sp modelId="{4976CF45-DAE0-476E-8F98-023762674585}">
      <dsp:nvSpPr>
        <dsp:cNvPr id="0" name=""/>
        <dsp:cNvSpPr/>
      </dsp:nvSpPr>
      <dsp:spPr>
        <a:xfrm>
          <a:off x="1970918" y="651619"/>
          <a:ext cx="1138156" cy="5690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Übergeordnete Themen</a:t>
          </a:r>
        </a:p>
      </dsp:txBody>
      <dsp:txXfrm>
        <a:off x="1970918" y="651619"/>
        <a:ext cx="1138156" cy="569078"/>
      </dsp:txXfrm>
    </dsp:sp>
    <dsp:sp modelId="{60EF91F8-EF2F-4B4D-B27B-14D4ADCFF2B5}">
      <dsp:nvSpPr>
        <dsp:cNvPr id="0" name=""/>
        <dsp:cNvSpPr/>
      </dsp:nvSpPr>
      <dsp:spPr>
        <a:xfrm>
          <a:off x="2255457" y="1459710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Überblick Machine Learning</a:t>
          </a:r>
        </a:p>
      </dsp:txBody>
      <dsp:txXfrm>
        <a:off x="2255457" y="1459710"/>
        <a:ext cx="1138156" cy="569078"/>
      </dsp:txXfrm>
    </dsp:sp>
    <dsp:sp modelId="{6F4C2235-A6C4-4479-BBE4-82FC3A444133}">
      <dsp:nvSpPr>
        <dsp:cNvPr id="0" name=""/>
        <dsp:cNvSpPr/>
      </dsp:nvSpPr>
      <dsp:spPr>
        <a:xfrm>
          <a:off x="2255457" y="2267801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Deskriptive Datenanalyse</a:t>
          </a:r>
        </a:p>
      </dsp:txBody>
      <dsp:txXfrm>
        <a:off x="2255457" y="2267801"/>
        <a:ext cx="1138156" cy="569078"/>
      </dsp:txXfrm>
    </dsp:sp>
    <dsp:sp modelId="{DF7855C9-FD4F-4B85-8546-5B9603AC37C9}">
      <dsp:nvSpPr>
        <dsp:cNvPr id="0" name=""/>
        <dsp:cNvSpPr/>
      </dsp:nvSpPr>
      <dsp:spPr>
        <a:xfrm>
          <a:off x="2255457" y="3075892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Modellauswahl</a:t>
          </a:r>
        </a:p>
      </dsp:txBody>
      <dsp:txXfrm>
        <a:off x="2255457" y="3075892"/>
        <a:ext cx="1138156" cy="569078"/>
      </dsp:txXfrm>
    </dsp:sp>
    <dsp:sp modelId="{28D961AF-8D39-443F-BC18-894FBABC3852}">
      <dsp:nvSpPr>
        <dsp:cNvPr id="0" name=""/>
        <dsp:cNvSpPr/>
      </dsp:nvSpPr>
      <dsp:spPr>
        <a:xfrm>
          <a:off x="3348087" y="651619"/>
          <a:ext cx="1138156" cy="5690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Klassische Regressions-verfahren</a:t>
          </a:r>
        </a:p>
      </dsp:txBody>
      <dsp:txXfrm>
        <a:off x="3348087" y="651619"/>
        <a:ext cx="1138156" cy="569078"/>
      </dsp:txXfrm>
    </dsp:sp>
    <dsp:sp modelId="{46B182E1-56B0-423C-B8FE-9A62D154983E}">
      <dsp:nvSpPr>
        <dsp:cNvPr id="0" name=""/>
        <dsp:cNvSpPr/>
      </dsp:nvSpPr>
      <dsp:spPr>
        <a:xfrm>
          <a:off x="3632626" y="1459710"/>
          <a:ext cx="1138156" cy="569078"/>
        </a:xfrm>
        <a:prstGeom prst="rect">
          <a:avLst/>
        </a:prstGeom>
        <a:solidFill>
          <a:schemeClr val="accent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Multivariate Lineare Regression</a:t>
          </a:r>
        </a:p>
      </dsp:txBody>
      <dsp:txXfrm>
        <a:off x="3632626" y="1459710"/>
        <a:ext cx="1138156" cy="569078"/>
      </dsp:txXfrm>
    </dsp:sp>
    <dsp:sp modelId="{B31B08C8-B11C-400F-831A-E7D97ECD39E3}">
      <dsp:nvSpPr>
        <dsp:cNvPr id="0" name=""/>
        <dsp:cNvSpPr/>
      </dsp:nvSpPr>
      <dsp:spPr>
        <a:xfrm>
          <a:off x="3632626" y="2267801"/>
          <a:ext cx="1138156" cy="569078"/>
        </a:xfrm>
        <a:prstGeom prst="rect">
          <a:avLst/>
        </a:prstGeom>
        <a:solidFill>
          <a:schemeClr val="accent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PCA-PLS-Regression</a:t>
          </a:r>
        </a:p>
      </dsp:txBody>
      <dsp:txXfrm>
        <a:off x="3632626" y="2267801"/>
        <a:ext cx="1138156" cy="569078"/>
      </dsp:txXfrm>
    </dsp:sp>
    <dsp:sp modelId="{BA47E4C6-1CFA-4039-9978-3B9C29AB8787}">
      <dsp:nvSpPr>
        <dsp:cNvPr id="0" name=""/>
        <dsp:cNvSpPr/>
      </dsp:nvSpPr>
      <dsp:spPr>
        <a:xfrm>
          <a:off x="3632626" y="3075892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>
              <a:latin typeface="Arial "/>
            </a:rPr>
            <a:t>Polynome, Splines, lokale Regression</a:t>
          </a:r>
          <a:endParaRPr lang="de-DE" sz="1200" b="1" kern="1200" dirty="0">
            <a:latin typeface="Arial "/>
          </a:endParaRPr>
        </a:p>
      </dsp:txBody>
      <dsp:txXfrm>
        <a:off x="3632626" y="3075892"/>
        <a:ext cx="1138156" cy="569078"/>
      </dsp:txXfrm>
    </dsp:sp>
    <dsp:sp modelId="{29BEE278-9FB1-49AD-A3DB-A831BFD47437}">
      <dsp:nvSpPr>
        <dsp:cNvPr id="0" name=""/>
        <dsp:cNvSpPr/>
      </dsp:nvSpPr>
      <dsp:spPr>
        <a:xfrm>
          <a:off x="4725256" y="651619"/>
          <a:ext cx="1138156" cy="5690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Regression </a:t>
          </a:r>
          <a:br>
            <a:rPr lang="de-DE" sz="1200" b="1" kern="1200" dirty="0">
              <a:latin typeface="Arial "/>
            </a:rPr>
          </a:br>
          <a:r>
            <a:rPr lang="de-DE" sz="1200" b="1" kern="1200" dirty="0">
              <a:latin typeface="Arial "/>
            </a:rPr>
            <a:t>mit KNN</a:t>
          </a:r>
        </a:p>
      </dsp:txBody>
      <dsp:txXfrm>
        <a:off x="4725256" y="651619"/>
        <a:ext cx="1138156" cy="569078"/>
      </dsp:txXfrm>
    </dsp:sp>
    <dsp:sp modelId="{DA357A92-9696-4F9C-A112-7B170B1A32F4}">
      <dsp:nvSpPr>
        <dsp:cNvPr id="0" name=""/>
        <dsp:cNvSpPr/>
      </dsp:nvSpPr>
      <dsp:spPr>
        <a:xfrm>
          <a:off x="5009795" y="1459710"/>
          <a:ext cx="1138156" cy="569078"/>
        </a:xfrm>
        <a:prstGeom prst="rect">
          <a:avLst/>
        </a:prstGeom>
        <a:solidFill>
          <a:srgbClr val="E2A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Neuronale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Netze Feedforward</a:t>
          </a:r>
        </a:p>
      </dsp:txBody>
      <dsp:txXfrm>
        <a:off x="5009795" y="1459710"/>
        <a:ext cx="1138156" cy="569078"/>
      </dsp:txXfrm>
    </dsp:sp>
    <dsp:sp modelId="{A214FD41-B2B7-44F7-85E2-9C07A90EA9CB}">
      <dsp:nvSpPr>
        <dsp:cNvPr id="0" name=""/>
        <dsp:cNvSpPr/>
      </dsp:nvSpPr>
      <dsp:spPr>
        <a:xfrm>
          <a:off x="5009795" y="2267801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 err="1">
              <a:latin typeface="Arial "/>
            </a:rPr>
            <a:t>Rekurrente</a:t>
          </a:r>
          <a:r>
            <a:rPr lang="de-DE" sz="1200" b="1" kern="1200" dirty="0">
              <a:latin typeface="Arial "/>
            </a:rPr>
            <a:t> Neuronale Netze (LSTM)</a:t>
          </a:r>
        </a:p>
      </dsp:txBody>
      <dsp:txXfrm>
        <a:off x="5009795" y="2267801"/>
        <a:ext cx="1138156" cy="569078"/>
      </dsp:txXfrm>
    </dsp:sp>
    <dsp:sp modelId="{1CACE03C-8863-49AB-A6EC-62386FAF4BA3}">
      <dsp:nvSpPr>
        <dsp:cNvPr id="0" name=""/>
        <dsp:cNvSpPr/>
      </dsp:nvSpPr>
      <dsp:spPr>
        <a:xfrm>
          <a:off x="5009795" y="3075892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 err="1">
              <a:latin typeface="Arial "/>
            </a:rPr>
            <a:t>Convolutionale</a:t>
          </a:r>
          <a:r>
            <a:rPr lang="de-DE" sz="1200" b="1" kern="1200" dirty="0">
              <a:latin typeface="Arial "/>
            </a:rPr>
            <a:t> Neuronale Netze CNN</a:t>
          </a:r>
        </a:p>
      </dsp:txBody>
      <dsp:txXfrm>
        <a:off x="5009795" y="3075892"/>
        <a:ext cx="1138156" cy="569078"/>
      </dsp:txXfrm>
    </dsp:sp>
    <dsp:sp modelId="{BA70C47F-43CF-4986-B42D-9804734103C9}">
      <dsp:nvSpPr>
        <dsp:cNvPr id="0" name=""/>
        <dsp:cNvSpPr/>
      </dsp:nvSpPr>
      <dsp:spPr>
        <a:xfrm>
          <a:off x="5009795" y="3883983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Temporal </a:t>
          </a:r>
          <a:r>
            <a:rPr lang="de-DE" sz="1200" b="1" kern="1200" dirty="0" err="1">
              <a:latin typeface="Arial "/>
            </a:rPr>
            <a:t>fusion</a:t>
          </a:r>
          <a:r>
            <a:rPr lang="de-DE" sz="1200" b="1" kern="1200" dirty="0">
              <a:latin typeface="Arial "/>
            </a:rPr>
            <a:t> Transformer</a:t>
          </a:r>
        </a:p>
      </dsp:txBody>
      <dsp:txXfrm>
        <a:off x="5009795" y="3883983"/>
        <a:ext cx="1138156" cy="569078"/>
      </dsp:txXfrm>
    </dsp:sp>
    <dsp:sp modelId="{B328AB81-D22A-4C09-B209-3AFB8BD1D3BD}">
      <dsp:nvSpPr>
        <dsp:cNvPr id="0" name=""/>
        <dsp:cNvSpPr/>
      </dsp:nvSpPr>
      <dsp:spPr>
        <a:xfrm>
          <a:off x="6102425" y="651619"/>
          <a:ext cx="1138156" cy="5690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Klassifizierung</a:t>
          </a:r>
        </a:p>
      </dsp:txBody>
      <dsp:txXfrm>
        <a:off x="6102425" y="651619"/>
        <a:ext cx="1138156" cy="569078"/>
      </dsp:txXfrm>
    </dsp:sp>
    <dsp:sp modelId="{8CF99B5F-035A-4925-A4D4-A4903534FF96}">
      <dsp:nvSpPr>
        <dsp:cNvPr id="0" name=""/>
        <dsp:cNvSpPr/>
      </dsp:nvSpPr>
      <dsp:spPr>
        <a:xfrm>
          <a:off x="6386964" y="1459710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K-nearest, </a:t>
          </a:r>
          <a:r>
            <a:rPr lang="de-DE" sz="1200" b="1" kern="1200" dirty="0" err="1">
              <a:latin typeface="Arial "/>
            </a:rPr>
            <a:t>Bayses</a:t>
          </a:r>
          <a:r>
            <a:rPr lang="de-DE" sz="1200" b="1" kern="1200" dirty="0">
              <a:latin typeface="Arial "/>
            </a:rPr>
            <a:t> Ansatz</a:t>
          </a:r>
        </a:p>
      </dsp:txBody>
      <dsp:txXfrm>
        <a:off x="6386964" y="1459710"/>
        <a:ext cx="1138156" cy="569078"/>
      </dsp:txXfrm>
    </dsp:sp>
    <dsp:sp modelId="{8A9799B3-6E41-49D8-9547-8481957BDBBF}">
      <dsp:nvSpPr>
        <dsp:cNvPr id="0" name=""/>
        <dsp:cNvSpPr/>
      </dsp:nvSpPr>
      <dsp:spPr>
        <a:xfrm>
          <a:off x="6386964" y="2267801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 err="1">
              <a:latin typeface="Arial "/>
            </a:rPr>
            <a:t>Rekurrente</a:t>
          </a:r>
          <a:r>
            <a:rPr lang="de-DE" sz="1200" b="1" kern="1200" dirty="0">
              <a:latin typeface="Arial "/>
            </a:rPr>
            <a:t>/ </a:t>
          </a:r>
          <a:r>
            <a:rPr lang="de-DE" sz="1200" b="1" kern="1200" dirty="0" err="1">
              <a:latin typeface="Arial "/>
            </a:rPr>
            <a:t>Convolutionale</a:t>
          </a:r>
          <a:r>
            <a:rPr lang="de-DE" sz="1200" b="1" kern="1200" dirty="0">
              <a:latin typeface="Arial "/>
            </a:rPr>
            <a:t> KNN</a:t>
          </a:r>
        </a:p>
      </dsp:txBody>
      <dsp:txXfrm>
        <a:off x="6386964" y="2267801"/>
        <a:ext cx="1138156" cy="569078"/>
      </dsp:txXfrm>
    </dsp:sp>
    <dsp:sp modelId="{36B92954-C473-47DA-8B66-AEA32BC51659}">
      <dsp:nvSpPr>
        <dsp:cNvPr id="0" name=""/>
        <dsp:cNvSpPr/>
      </dsp:nvSpPr>
      <dsp:spPr>
        <a:xfrm>
          <a:off x="7479594" y="651619"/>
          <a:ext cx="1138156" cy="56907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Clustering/ Datenreduktion</a:t>
          </a:r>
        </a:p>
      </dsp:txBody>
      <dsp:txXfrm>
        <a:off x="7479594" y="651619"/>
        <a:ext cx="1138156" cy="569078"/>
      </dsp:txXfrm>
    </dsp:sp>
    <dsp:sp modelId="{B992F0E6-47BD-4087-9AC8-71B854DEDA01}">
      <dsp:nvSpPr>
        <dsp:cNvPr id="0" name=""/>
        <dsp:cNvSpPr/>
      </dsp:nvSpPr>
      <dsp:spPr>
        <a:xfrm>
          <a:off x="7764133" y="1459710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Principle Component Analyse (PCA)</a:t>
          </a:r>
        </a:p>
      </dsp:txBody>
      <dsp:txXfrm>
        <a:off x="7764133" y="1459710"/>
        <a:ext cx="1138156" cy="569078"/>
      </dsp:txXfrm>
    </dsp:sp>
    <dsp:sp modelId="{643C26F7-24E2-4CBC-B523-24E13F0E3FCB}">
      <dsp:nvSpPr>
        <dsp:cNvPr id="0" name=""/>
        <dsp:cNvSpPr/>
      </dsp:nvSpPr>
      <dsp:spPr>
        <a:xfrm>
          <a:off x="7764133" y="2267801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Autoencoder</a:t>
          </a:r>
        </a:p>
      </dsp:txBody>
      <dsp:txXfrm>
        <a:off x="7764133" y="2267801"/>
        <a:ext cx="1138156" cy="569078"/>
      </dsp:txXfrm>
    </dsp:sp>
    <dsp:sp modelId="{EA3F6E2F-64B8-4C98-AE0E-4323884D8078}">
      <dsp:nvSpPr>
        <dsp:cNvPr id="0" name=""/>
        <dsp:cNvSpPr/>
      </dsp:nvSpPr>
      <dsp:spPr>
        <a:xfrm>
          <a:off x="7764133" y="3075892"/>
          <a:ext cx="1138156" cy="56907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>
              <a:latin typeface="Arial "/>
            </a:rPr>
            <a:t>K-Means, Hierarchical Clustering</a:t>
          </a:r>
        </a:p>
      </dsp:txBody>
      <dsp:txXfrm>
        <a:off x="7764133" y="3075892"/>
        <a:ext cx="1138156" cy="5690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E6022-5193-42F5-B4DB-67BCC526D45C}">
      <dsp:nvSpPr>
        <dsp:cNvPr id="0" name=""/>
        <dsp:cNvSpPr/>
      </dsp:nvSpPr>
      <dsp:spPr>
        <a:xfrm>
          <a:off x="828478" y="0"/>
          <a:ext cx="3203768" cy="942717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/>
            <a:t>Initialisierung/Update der Gewichte</a:t>
          </a:r>
        </a:p>
      </dsp:txBody>
      <dsp:txXfrm>
        <a:off x="856089" y="27611"/>
        <a:ext cx="3148546" cy="887495"/>
      </dsp:txXfrm>
    </dsp:sp>
    <dsp:sp modelId="{04FC0376-0314-43F7-9647-DD2227E74296}">
      <dsp:nvSpPr>
        <dsp:cNvPr id="0" name=""/>
        <dsp:cNvSpPr/>
      </dsp:nvSpPr>
      <dsp:spPr>
        <a:xfrm rot="5400000">
          <a:off x="2253603" y="966285"/>
          <a:ext cx="353519" cy="42422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/>
        </a:p>
      </dsp:txBody>
      <dsp:txXfrm rot="-5400000">
        <a:off x="2303096" y="1001637"/>
        <a:ext cx="254533" cy="247463"/>
      </dsp:txXfrm>
    </dsp:sp>
    <dsp:sp modelId="{A2815D6E-6434-4482-B718-DD747395DE69}">
      <dsp:nvSpPr>
        <dsp:cNvPr id="0" name=""/>
        <dsp:cNvSpPr/>
      </dsp:nvSpPr>
      <dsp:spPr>
        <a:xfrm>
          <a:off x="828478" y="1414077"/>
          <a:ext cx="3203768" cy="942717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/>
            <a:t>Berechnung:</a:t>
          </a:r>
          <a:br>
            <a:rPr lang="de-DE" sz="1400" b="1" kern="1200" dirty="0"/>
          </a:br>
          <a:r>
            <a:rPr lang="de-DE" sz="1400" b="1" kern="1200" dirty="0"/>
            <a:t>-  </a:t>
          </a:r>
          <a:r>
            <a:rPr lang="de-DE" sz="1400" b="0" kern="1200" dirty="0"/>
            <a:t>Nettoeingabe </a:t>
          </a:r>
          <a:br>
            <a:rPr lang="de-DE" sz="1400" b="0" kern="1200" dirty="0"/>
          </a:br>
          <a:r>
            <a:rPr lang="de-DE" sz="1400" b="0" kern="1200" dirty="0"/>
            <a:t>-  Aktivierung            </a:t>
          </a:r>
          <a:br>
            <a:rPr lang="de-DE" sz="1400" b="0" kern="1200" dirty="0"/>
          </a:br>
          <a:r>
            <a:rPr lang="de-DE" sz="1400" b="0" kern="1200" dirty="0"/>
            <a:t>- Verlustfunktion</a:t>
          </a:r>
        </a:p>
      </dsp:txBody>
      <dsp:txXfrm>
        <a:off x="856089" y="1441688"/>
        <a:ext cx="3148546" cy="887495"/>
      </dsp:txXfrm>
    </dsp:sp>
    <dsp:sp modelId="{A50ED758-8308-41C6-98C1-C77FE67F7A65}">
      <dsp:nvSpPr>
        <dsp:cNvPr id="0" name=""/>
        <dsp:cNvSpPr/>
      </dsp:nvSpPr>
      <dsp:spPr>
        <a:xfrm rot="5400000">
          <a:off x="2253603" y="2380362"/>
          <a:ext cx="353519" cy="42422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400" kern="1200"/>
        </a:p>
      </dsp:txBody>
      <dsp:txXfrm rot="-5400000">
        <a:off x="2303096" y="2415714"/>
        <a:ext cx="254533" cy="247463"/>
      </dsp:txXfrm>
    </dsp:sp>
    <dsp:sp modelId="{55EBE0FF-BF74-4544-B499-F92FF21B9195}">
      <dsp:nvSpPr>
        <dsp:cNvPr id="0" name=""/>
        <dsp:cNvSpPr/>
      </dsp:nvSpPr>
      <dsp:spPr>
        <a:xfrm>
          <a:off x="828478" y="2828154"/>
          <a:ext cx="3203768" cy="942717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/>
            <a:t>Berechnung Veränderung Gewichte</a:t>
          </a:r>
          <a:br>
            <a:rPr lang="de-DE" sz="1400" b="1" kern="1200" dirty="0"/>
          </a:br>
          <a:r>
            <a:rPr lang="de-DE" sz="1400" b="0" kern="1200" dirty="0"/>
            <a:t>- Gradient Verlustfunktion </a:t>
          </a:r>
          <a:br>
            <a:rPr lang="de-DE" sz="1400" b="0" kern="1200" dirty="0"/>
          </a:br>
          <a:r>
            <a:rPr lang="de-DE" sz="1400" b="0" kern="1200" dirty="0"/>
            <a:t>- Veränderung der Gewichte (</a:t>
          </a:r>
          <a:r>
            <a:rPr lang="de-DE" sz="1400" b="1" kern="1200" dirty="0">
              <a:sym typeface="Symbol" panose="05050102010706020507" pitchFamily="18" charset="2"/>
            </a:rPr>
            <a:t></a:t>
          </a:r>
          <a:r>
            <a:rPr lang="de-DE" sz="1400" b="1" kern="1200" dirty="0"/>
            <a:t>w</a:t>
          </a:r>
          <a:r>
            <a:rPr lang="de-DE" sz="1400" b="0" kern="1200" dirty="0"/>
            <a:t>)</a:t>
          </a:r>
        </a:p>
      </dsp:txBody>
      <dsp:txXfrm>
        <a:off x="856089" y="2855765"/>
        <a:ext cx="3148546" cy="8874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D7D2D5-2678-4942-9142-BD2E93E76A63}">
      <dsp:nvSpPr>
        <dsp:cNvPr id="0" name=""/>
        <dsp:cNvSpPr/>
      </dsp:nvSpPr>
      <dsp:spPr>
        <a:xfrm>
          <a:off x="529253" y="484366"/>
          <a:ext cx="4010901" cy="4010901"/>
        </a:xfrm>
        <a:prstGeom prst="circularArrow">
          <a:avLst>
            <a:gd name="adj1" fmla="val 5544"/>
            <a:gd name="adj2" fmla="val 330680"/>
            <a:gd name="adj3" fmla="val 13854172"/>
            <a:gd name="adj4" fmla="val 17338526"/>
            <a:gd name="adj5" fmla="val 5757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B5EA20-C496-4D1A-B1E1-1A38AF160EBB}">
      <dsp:nvSpPr>
        <dsp:cNvPr id="0" name=""/>
        <dsp:cNvSpPr/>
      </dsp:nvSpPr>
      <dsp:spPr>
        <a:xfrm>
          <a:off x="1627508" y="506120"/>
          <a:ext cx="1814392" cy="90719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>
              <a:latin typeface="Arial" panose="020B0604020202020204" pitchFamily="34" charset="0"/>
              <a:cs typeface="Arial" panose="020B0604020202020204" pitchFamily="34" charset="0"/>
            </a:rPr>
            <a:t>Zufälliges Ziehung eines neuen Batch</a:t>
          </a:r>
        </a:p>
      </dsp:txBody>
      <dsp:txXfrm>
        <a:off x="1671794" y="550406"/>
        <a:ext cx="1725820" cy="818624"/>
      </dsp:txXfrm>
    </dsp:sp>
    <dsp:sp modelId="{42F39F55-F769-47E0-B116-4DBAB9DBE5E1}">
      <dsp:nvSpPr>
        <dsp:cNvPr id="0" name=""/>
        <dsp:cNvSpPr/>
      </dsp:nvSpPr>
      <dsp:spPr>
        <a:xfrm>
          <a:off x="3254200" y="1687981"/>
          <a:ext cx="1814392" cy="907196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>
              <a:latin typeface="Arial" panose="020B0604020202020204" pitchFamily="34" charset="0"/>
              <a:cs typeface="Arial" panose="020B0604020202020204" pitchFamily="34" charset="0"/>
            </a:rPr>
            <a:t>Berechnung der Ableitung</a:t>
          </a:r>
        </a:p>
      </dsp:txBody>
      <dsp:txXfrm>
        <a:off x="3298486" y="1732267"/>
        <a:ext cx="1725820" cy="818624"/>
      </dsp:txXfrm>
    </dsp:sp>
    <dsp:sp modelId="{F3F1ECFE-3577-4558-AE9D-0C612C4B1845}">
      <dsp:nvSpPr>
        <dsp:cNvPr id="0" name=""/>
        <dsp:cNvSpPr/>
      </dsp:nvSpPr>
      <dsp:spPr>
        <a:xfrm>
          <a:off x="2632859" y="3600273"/>
          <a:ext cx="1814392" cy="907196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>
              <a:latin typeface="Arial" panose="020B0604020202020204" pitchFamily="34" charset="0"/>
              <a:cs typeface="Arial" panose="020B0604020202020204" pitchFamily="34" charset="0"/>
            </a:rPr>
            <a:t>Update der Gewichte</a:t>
          </a:r>
        </a:p>
      </dsp:txBody>
      <dsp:txXfrm>
        <a:off x="2677145" y="3644559"/>
        <a:ext cx="1725820" cy="818624"/>
      </dsp:txXfrm>
    </dsp:sp>
    <dsp:sp modelId="{1D2873C4-D46B-4C99-BBFF-3135BF47534B}">
      <dsp:nvSpPr>
        <dsp:cNvPr id="0" name=""/>
        <dsp:cNvSpPr/>
      </dsp:nvSpPr>
      <dsp:spPr>
        <a:xfrm>
          <a:off x="622156" y="3600273"/>
          <a:ext cx="1814392" cy="907196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>
              <a:latin typeface="Arial" panose="020B0604020202020204" pitchFamily="34" charset="0"/>
              <a:cs typeface="Arial" panose="020B0604020202020204" pitchFamily="34" charset="0"/>
            </a:rPr>
            <a:t>Update Aktivierungen</a:t>
          </a:r>
        </a:p>
      </dsp:txBody>
      <dsp:txXfrm>
        <a:off x="666442" y="3644559"/>
        <a:ext cx="1725820" cy="818624"/>
      </dsp:txXfrm>
    </dsp:sp>
    <dsp:sp modelId="{AF80792A-C536-453A-B37F-7297E8CA5D91}">
      <dsp:nvSpPr>
        <dsp:cNvPr id="0" name=""/>
        <dsp:cNvSpPr/>
      </dsp:nvSpPr>
      <dsp:spPr>
        <a:xfrm>
          <a:off x="815" y="1687981"/>
          <a:ext cx="1814392" cy="907196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>
              <a:latin typeface="Arial" panose="020B0604020202020204" pitchFamily="34" charset="0"/>
              <a:cs typeface="Arial" panose="020B0604020202020204" pitchFamily="34" charset="0"/>
            </a:rPr>
            <a:t>Update Verlustfunktion</a:t>
          </a:r>
        </a:p>
      </dsp:txBody>
      <dsp:txXfrm>
        <a:off x="45101" y="1732267"/>
        <a:ext cx="1725820" cy="81862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28561F-3389-4EF8-A729-05D8C9BACB36}">
      <dsp:nvSpPr>
        <dsp:cNvPr id="0" name=""/>
        <dsp:cNvSpPr/>
      </dsp:nvSpPr>
      <dsp:spPr>
        <a:xfrm>
          <a:off x="0" y="19089"/>
          <a:ext cx="6096000" cy="4680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/>
            <a:t>Formulierung des Zusammenhangs</a:t>
          </a:r>
        </a:p>
      </dsp:txBody>
      <dsp:txXfrm>
        <a:off x="22846" y="41935"/>
        <a:ext cx="6050308" cy="422308"/>
      </dsp:txXfrm>
    </dsp:sp>
    <dsp:sp modelId="{627FE9A7-F57C-418C-814B-8629F18B4596}">
      <dsp:nvSpPr>
        <dsp:cNvPr id="0" name=""/>
        <dsp:cNvSpPr/>
      </dsp:nvSpPr>
      <dsp:spPr>
        <a:xfrm>
          <a:off x="0" y="487089"/>
          <a:ext cx="6096000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uswahl und </a:t>
          </a:r>
          <a:r>
            <a:rPr lang="de-DE" sz="1400" b="1" kern="1200" dirty="0"/>
            <a:t>Normierung</a:t>
          </a:r>
          <a:r>
            <a:rPr lang="de-DE" sz="1400" kern="1200" dirty="0"/>
            <a:t> Input- und </a:t>
          </a:r>
          <a:r>
            <a:rPr lang="de-DE" sz="1400" kern="1200" dirty="0" err="1"/>
            <a:t>Outputgrößen</a:t>
          </a:r>
          <a:endParaRPr lang="de-DE" sz="1400" kern="1200" dirty="0"/>
        </a:p>
      </dsp:txBody>
      <dsp:txXfrm>
        <a:off x="0" y="487089"/>
        <a:ext cx="6096000" cy="414000"/>
      </dsp:txXfrm>
    </dsp:sp>
    <dsp:sp modelId="{FF5983FE-E4DE-4E57-AAD4-E6C799C9C3AA}">
      <dsp:nvSpPr>
        <dsp:cNvPr id="0" name=""/>
        <dsp:cNvSpPr/>
      </dsp:nvSpPr>
      <dsp:spPr>
        <a:xfrm>
          <a:off x="0" y="901089"/>
          <a:ext cx="6096000" cy="4680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/>
            <a:t>Vorbereitung der Daten</a:t>
          </a:r>
        </a:p>
      </dsp:txBody>
      <dsp:txXfrm>
        <a:off x="22846" y="923935"/>
        <a:ext cx="6050308" cy="422308"/>
      </dsp:txXfrm>
    </dsp:sp>
    <dsp:sp modelId="{F9477F54-E1FB-47C5-89CE-3DA20E89F061}">
      <dsp:nvSpPr>
        <dsp:cNvPr id="0" name=""/>
        <dsp:cNvSpPr/>
      </dsp:nvSpPr>
      <dsp:spPr>
        <a:xfrm>
          <a:off x="0" y="1369089"/>
          <a:ext cx="6096000" cy="478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Trennung Trainings-, Validierungs-, und Testda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Zuschnitt von X und Y aus der Datensequenz</a:t>
          </a:r>
        </a:p>
      </dsp:txBody>
      <dsp:txXfrm>
        <a:off x="0" y="1369089"/>
        <a:ext cx="6096000" cy="478687"/>
      </dsp:txXfrm>
    </dsp:sp>
    <dsp:sp modelId="{733F7779-83BA-4DAE-BCFA-18BC404F6FA0}">
      <dsp:nvSpPr>
        <dsp:cNvPr id="0" name=""/>
        <dsp:cNvSpPr/>
      </dsp:nvSpPr>
      <dsp:spPr>
        <a:xfrm>
          <a:off x="0" y="1847776"/>
          <a:ext cx="6096000" cy="4680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/>
            <a:t>Aufbau des neuronalen Netzes</a:t>
          </a:r>
        </a:p>
      </dsp:txBody>
      <dsp:txXfrm>
        <a:off x="22846" y="1870622"/>
        <a:ext cx="6050308" cy="422308"/>
      </dsp:txXfrm>
    </dsp:sp>
    <dsp:sp modelId="{05ABDD20-A1EA-4974-B05F-0EC19E638766}">
      <dsp:nvSpPr>
        <dsp:cNvPr id="0" name=""/>
        <dsp:cNvSpPr/>
      </dsp:nvSpPr>
      <dsp:spPr>
        <a:xfrm>
          <a:off x="0" y="2315776"/>
          <a:ext cx="6096000" cy="957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nzahl der Schi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Typ der Schi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rt der Aktivieru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nzahl der Neuronen pro Schicht</a:t>
          </a:r>
        </a:p>
      </dsp:txBody>
      <dsp:txXfrm>
        <a:off x="0" y="2315776"/>
        <a:ext cx="6096000" cy="957375"/>
      </dsp:txXfrm>
    </dsp:sp>
    <dsp:sp modelId="{ABB4A065-1986-433F-9690-CAC2A70B2D57}">
      <dsp:nvSpPr>
        <dsp:cNvPr id="0" name=""/>
        <dsp:cNvSpPr/>
      </dsp:nvSpPr>
      <dsp:spPr>
        <a:xfrm>
          <a:off x="0" y="3273151"/>
          <a:ext cx="6096000" cy="4680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/>
            <a:t>Festlegung der Hyperparameter</a:t>
          </a:r>
        </a:p>
      </dsp:txBody>
      <dsp:txXfrm>
        <a:off x="22846" y="3295997"/>
        <a:ext cx="6050308" cy="422308"/>
      </dsp:txXfrm>
    </dsp:sp>
    <dsp:sp modelId="{1F1668FF-B4F3-4071-B1F3-F96CF274091A}">
      <dsp:nvSpPr>
        <dsp:cNvPr id="0" name=""/>
        <dsp:cNvSpPr/>
      </dsp:nvSpPr>
      <dsp:spPr>
        <a:xfrm>
          <a:off x="0" y="3741151"/>
          <a:ext cx="6096000" cy="957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r Verlustfunktion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r Epochen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s Optimierungsmechanismus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/>
            <a:t>Wahl der Parameter des Optimierungsmechanismus</a:t>
          </a:r>
          <a:endParaRPr lang="de-DE" sz="1400" kern="1200" dirty="0"/>
        </a:p>
      </dsp:txBody>
      <dsp:txXfrm>
        <a:off x="0" y="3741151"/>
        <a:ext cx="6096000" cy="95737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28561F-3389-4EF8-A729-05D8C9BACB36}">
      <dsp:nvSpPr>
        <dsp:cNvPr id="0" name=""/>
        <dsp:cNvSpPr/>
      </dsp:nvSpPr>
      <dsp:spPr>
        <a:xfrm>
          <a:off x="0" y="19089"/>
          <a:ext cx="6096000" cy="4680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Formulierung des Zusammenhangs</a:t>
          </a:r>
        </a:p>
      </dsp:txBody>
      <dsp:txXfrm>
        <a:off x="22846" y="41935"/>
        <a:ext cx="6050308" cy="422308"/>
      </dsp:txXfrm>
    </dsp:sp>
    <dsp:sp modelId="{627FE9A7-F57C-418C-814B-8629F18B4596}">
      <dsp:nvSpPr>
        <dsp:cNvPr id="0" name=""/>
        <dsp:cNvSpPr/>
      </dsp:nvSpPr>
      <dsp:spPr>
        <a:xfrm>
          <a:off x="0" y="487089"/>
          <a:ext cx="6096000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uswahl und </a:t>
          </a:r>
          <a:r>
            <a:rPr lang="de-DE" sz="1400" b="1" kern="1200" dirty="0"/>
            <a:t>Normierung</a:t>
          </a:r>
          <a:r>
            <a:rPr lang="de-DE" sz="1400" kern="1200" dirty="0"/>
            <a:t> Input- und </a:t>
          </a:r>
          <a:r>
            <a:rPr lang="de-DE" sz="1400" kern="1200" dirty="0" err="1"/>
            <a:t>Outputgrößen</a:t>
          </a:r>
          <a:endParaRPr lang="de-DE" sz="1400" kern="1200" dirty="0"/>
        </a:p>
      </dsp:txBody>
      <dsp:txXfrm>
        <a:off x="0" y="487089"/>
        <a:ext cx="6096000" cy="414000"/>
      </dsp:txXfrm>
    </dsp:sp>
    <dsp:sp modelId="{FF5983FE-E4DE-4E57-AAD4-E6C799C9C3AA}">
      <dsp:nvSpPr>
        <dsp:cNvPr id="0" name=""/>
        <dsp:cNvSpPr/>
      </dsp:nvSpPr>
      <dsp:spPr>
        <a:xfrm>
          <a:off x="0" y="901089"/>
          <a:ext cx="6096000" cy="4680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Vorbereitung der Daten</a:t>
          </a:r>
        </a:p>
      </dsp:txBody>
      <dsp:txXfrm>
        <a:off x="22846" y="923935"/>
        <a:ext cx="6050308" cy="422308"/>
      </dsp:txXfrm>
    </dsp:sp>
    <dsp:sp modelId="{F9477F54-E1FB-47C5-89CE-3DA20E89F061}">
      <dsp:nvSpPr>
        <dsp:cNvPr id="0" name=""/>
        <dsp:cNvSpPr/>
      </dsp:nvSpPr>
      <dsp:spPr>
        <a:xfrm>
          <a:off x="0" y="1369089"/>
          <a:ext cx="6096000" cy="478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Trennung Trainings-, Validierungs-, und Testda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Zuschnitt von X und Y aus der Datensequenz</a:t>
          </a:r>
        </a:p>
      </dsp:txBody>
      <dsp:txXfrm>
        <a:off x="0" y="1369089"/>
        <a:ext cx="6096000" cy="478687"/>
      </dsp:txXfrm>
    </dsp:sp>
    <dsp:sp modelId="{733F7779-83BA-4DAE-BCFA-18BC404F6FA0}">
      <dsp:nvSpPr>
        <dsp:cNvPr id="0" name=""/>
        <dsp:cNvSpPr/>
      </dsp:nvSpPr>
      <dsp:spPr>
        <a:xfrm>
          <a:off x="0" y="1847776"/>
          <a:ext cx="6096000" cy="4680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Aufbau des neuronalen Netzes</a:t>
          </a:r>
        </a:p>
      </dsp:txBody>
      <dsp:txXfrm>
        <a:off x="22846" y="1870622"/>
        <a:ext cx="6050308" cy="422308"/>
      </dsp:txXfrm>
    </dsp:sp>
    <dsp:sp modelId="{05ABDD20-A1EA-4974-B05F-0EC19E638766}">
      <dsp:nvSpPr>
        <dsp:cNvPr id="0" name=""/>
        <dsp:cNvSpPr/>
      </dsp:nvSpPr>
      <dsp:spPr>
        <a:xfrm>
          <a:off x="0" y="2315776"/>
          <a:ext cx="6096000" cy="957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nzahl der Schi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Typ der Schi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rt der Aktivieru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nzahl der Neuronen pro Schicht</a:t>
          </a:r>
        </a:p>
      </dsp:txBody>
      <dsp:txXfrm>
        <a:off x="0" y="2315776"/>
        <a:ext cx="6096000" cy="957375"/>
      </dsp:txXfrm>
    </dsp:sp>
    <dsp:sp modelId="{ABB4A065-1986-433F-9690-CAC2A70B2D57}">
      <dsp:nvSpPr>
        <dsp:cNvPr id="0" name=""/>
        <dsp:cNvSpPr/>
      </dsp:nvSpPr>
      <dsp:spPr>
        <a:xfrm>
          <a:off x="0" y="3273151"/>
          <a:ext cx="6096000" cy="4680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Festlegung der Hyperparameter</a:t>
          </a:r>
        </a:p>
      </dsp:txBody>
      <dsp:txXfrm>
        <a:off x="22846" y="3295997"/>
        <a:ext cx="6050308" cy="422308"/>
      </dsp:txXfrm>
    </dsp:sp>
    <dsp:sp modelId="{1F1668FF-B4F3-4071-B1F3-F96CF274091A}">
      <dsp:nvSpPr>
        <dsp:cNvPr id="0" name=""/>
        <dsp:cNvSpPr/>
      </dsp:nvSpPr>
      <dsp:spPr>
        <a:xfrm>
          <a:off x="0" y="3741151"/>
          <a:ext cx="6096000" cy="957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r Verlustfunktion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r Epochen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s Optimierungsmechanismus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/>
            <a:t>Wahl der Parameter des Optimierungsmechanismus</a:t>
          </a:r>
          <a:endParaRPr lang="de-DE" sz="1400" kern="1200" dirty="0"/>
        </a:p>
      </dsp:txBody>
      <dsp:txXfrm>
        <a:off x="0" y="3741151"/>
        <a:ext cx="6096000" cy="95737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0FA1E5-2ECE-4A78-9081-AB7132B2AB27}">
      <dsp:nvSpPr>
        <dsp:cNvPr id="0" name=""/>
        <dsp:cNvSpPr/>
      </dsp:nvSpPr>
      <dsp:spPr>
        <a:xfrm>
          <a:off x="3540125" y="1482729"/>
          <a:ext cx="2504664" cy="4346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7346"/>
              </a:lnTo>
              <a:lnTo>
                <a:pt x="2504664" y="217346"/>
              </a:lnTo>
              <a:lnTo>
                <a:pt x="2504664" y="434693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28C0C1-347B-4CE8-858E-6DA329795236}">
      <dsp:nvSpPr>
        <dsp:cNvPr id="0" name=""/>
        <dsp:cNvSpPr/>
      </dsp:nvSpPr>
      <dsp:spPr>
        <a:xfrm>
          <a:off x="3494405" y="1482729"/>
          <a:ext cx="91440" cy="43469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4693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28F4DC-B26C-4C81-9367-C93CB53E9246}">
      <dsp:nvSpPr>
        <dsp:cNvPr id="0" name=""/>
        <dsp:cNvSpPr/>
      </dsp:nvSpPr>
      <dsp:spPr>
        <a:xfrm>
          <a:off x="1035460" y="1482729"/>
          <a:ext cx="2504664" cy="434693"/>
        </a:xfrm>
        <a:custGeom>
          <a:avLst/>
          <a:gdLst/>
          <a:ahLst/>
          <a:cxnLst/>
          <a:rect l="0" t="0" r="0" b="0"/>
          <a:pathLst>
            <a:path>
              <a:moveTo>
                <a:pt x="2504664" y="0"/>
              </a:moveTo>
              <a:lnTo>
                <a:pt x="2504664" y="217346"/>
              </a:lnTo>
              <a:lnTo>
                <a:pt x="0" y="217346"/>
              </a:lnTo>
              <a:lnTo>
                <a:pt x="0" y="434693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D2E148-7B22-43F2-A143-4FB60382D760}">
      <dsp:nvSpPr>
        <dsp:cNvPr id="0" name=""/>
        <dsp:cNvSpPr/>
      </dsp:nvSpPr>
      <dsp:spPr>
        <a:xfrm>
          <a:off x="2505139" y="447743"/>
          <a:ext cx="2069970" cy="103498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latin typeface="Arial" panose="020B0604020202020204" pitchFamily="34" charset="0"/>
              <a:cs typeface="Arial" panose="020B0604020202020204" pitchFamily="34" charset="0"/>
            </a:rPr>
            <a:t>Stichprobe</a:t>
          </a:r>
        </a:p>
      </dsp:txBody>
      <dsp:txXfrm>
        <a:off x="2505139" y="447743"/>
        <a:ext cx="2069970" cy="1034985"/>
      </dsp:txXfrm>
    </dsp:sp>
    <dsp:sp modelId="{45966F68-C823-4EBB-B70C-3AF82F809D34}">
      <dsp:nvSpPr>
        <dsp:cNvPr id="0" name=""/>
        <dsp:cNvSpPr/>
      </dsp:nvSpPr>
      <dsp:spPr>
        <a:xfrm>
          <a:off x="475" y="1917422"/>
          <a:ext cx="2069970" cy="1034985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latin typeface="Arial" panose="020B0604020202020204" pitchFamily="34" charset="0"/>
              <a:cs typeface="Arial" panose="020B0604020202020204" pitchFamily="34" charset="0"/>
            </a:rPr>
            <a:t>Trainingsdaten</a:t>
          </a:r>
        </a:p>
      </dsp:txBody>
      <dsp:txXfrm>
        <a:off x="475" y="1917422"/>
        <a:ext cx="2069970" cy="1034985"/>
      </dsp:txXfrm>
    </dsp:sp>
    <dsp:sp modelId="{C5803DAF-3914-4C7F-BB76-5E6F5BBF9BA9}">
      <dsp:nvSpPr>
        <dsp:cNvPr id="0" name=""/>
        <dsp:cNvSpPr/>
      </dsp:nvSpPr>
      <dsp:spPr>
        <a:xfrm>
          <a:off x="2505139" y="1917422"/>
          <a:ext cx="2069970" cy="1034985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latin typeface="Arial" panose="020B0604020202020204" pitchFamily="34" charset="0"/>
              <a:cs typeface="Arial" panose="020B0604020202020204" pitchFamily="34" charset="0"/>
            </a:rPr>
            <a:t>Validierungsdaten</a:t>
          </a:r>
        </a:p>
      </dsp:txBody>
      <dsp:txXfrm>
        <a:off x="2505139" y="1917422"/>
        <a:ext cx="2069970" cy="1034985"/>
      </dsp:txXfrm>
    </dsp:sp>
    <dsp:sp modelId="{F4BF42CA-D91D-4377-B89A-28331B59B398}">
      <dsp:nvSpPr>
        <dsp:cNvPr id="0" name=""/>
        <dsp:cNvSpPr/>
      </dsp:nvSpPr>
      <dsp:spPr>
        <a:xfrm>
          <a:off x="5009804" y="1917422"/>
          <a:ext cx="2069970" cy="1034985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latin typeface="Arial" panose="020B0604020202020204" pitchFamily="34" charset="0"/>
              <a:cs typeface="Arial" panose="020B0604020202020204" pitchFamily="34" charset="0"/>
            </a:rPr>
            <a:t>Testdaten</a:t>
          </a:r>
        </a:p>
      </dsp:txBody>
      <dsp:txXfrm>
        <a:off x="5009804" y="1917422"/>
        <a:ext cx="2069970" cy="10349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28561F-3389-4EF8-A729-05D8C9BACB36}">
      <dsp:nvSpPr>
        <dsp:cNvPr id="0" name=""/>
        <dsp:cNvSpPr/>
      </dsp:nvSpPr>
      <dsp:spPr>
        <a:xfrm>
          <a:off x="0" y="19089"/>
          <a:ext cx="6096000" cy="4680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Formulierung des Zusammenhangs</a:t>
          </a:r>
        </a:p>
      </dsp:txBody>
      <dsp:txXfrm>
        <a:off x="22846" y="41935"/>
        <a:ext cx="6050308" cy="422308"/>
      </dsp:txXfrm>
    </dsp:sp>
    <dsp:sp modelId="{627FE9A7-F57C-418C-814B-8629F18B4596}">
      <dsp:nvSpPr>
        <dsp:cNvPr id="0" name=""/>
        <dsp:cNvSpPr/>
      </dsp:nvSpPr>
      <dsp:spPr>
        <a:xfrm>
          <a:off x="0" y="487089"/>
          <a:ext cx="6096000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uswahl und </a:t>
          </a:r>
          <a:r>
            <a:rPr lang="de-DE" sz="1400" b="1" kern="1200" dirty="0"/>
            <a:t>Normierung</a:t>
          </a:r>
          <a:r>
            <a:rPr lang="de-DE" sz="1400" kern="1200" dirty="0"/>
            <a:t> Input- und </a:t>
          </a:r>
          <a:r>
            <a:rPr lang="de-DE" sz="1400" kern="1200" dirty="0" err="1"/>
            <a:t>Outputgrößen</a:t>
          </a:r>
          <a:endParaRPr lang="de-DE" sz="1400" kern="1200" dirty="0"/>
        </a:p>
      </dsp:txBody>
      <dsp:txXfrm>
        <a:off x="0" y="487089"/>
        <a:ext cx="6096000" cy="414000"/>
      </dsp:txXfrm>
    </dsp:sp>
    <dsp:sp modelId="{FF5983FE-E4DE-4E57-AAD4-E6C799C9C3AA}">
      <dsp:nvSpPr>
        <dsp:cNvPr id="0" name=""/>
        <dsp:cNvSpPr/>
      </dsp:nvSpPr>
      <dsp:spPr>
        <a:xfrm>
          <a:off x="0" y="901089"/>
          <a:ext cx="6096000" cy="4680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Vorbereitung der Daten</a:t>
          </a:r>
        </a:p>
      </dsp:txBody>
      <dsp:txXfrm>
        <a:off x="22846" y="923935"/>
        <a:ext cx="6050308" cy="422308"/>
      </dsp:txXfrm>
    </dsp:sp>
    <dsp:sp modelId="{F9477F54-E1FB-47C5-89CE-3DA20E89F061}">
      <dsp:nvSpPr>
        <dsp:cNvPr id="0" name=""/>
        <dsp:cNvSpPr/>
      </dsp:nvSpPr>
      <dsp:spPr>
        <a:xfrm>
          <a:off x="0" y="1369089"/>
          <a:ext cx="6096000" cy="478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Trennung Trainings-, Validierungs-, und Testda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Zuschnitt von X und Y aus der Datensequenz</a:t>
          </a:r>
        </a:p>
      </dsp:txBody>
      <dsp:txXfrm>
        <a:off x="0" y="1369089"/>
        <a:ext cx="6096000" cy="478687"/>
      </dsp:txXfrm>
    </dsp:sp>
    <dsp:sp modelId="{733F7779-83BA-4DAE-BCFA-18BC404F6FA0}">
      <dsp:nvSpPr>
        <dsp:cNvPr id="0" name=""/>
        <dsp:cNvSpPr/>
      </dsp:nvSpPr>
      <dsp:spPr>
        <a:xfrm>
          <a:off x="0" y="1847776"/>
          <a:ext cx="6096000" cy="4680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Aufbau des neuronalen Netzes</a:t>
          </a:r>
        </a:p>
      </dsp:txBody>
      <dsp:txXfrm>
        <a:off x="22846" y="1870622"/>
        <a:ext cx="6050308" cy="422308"/>
      </dsp:txXfrm>
    </dsp:sp>
    <dsp:sp modelId="{05ABDD20-A1EA-4974-B05F-0EC19E638766}">
      <dsp:nvSpPr>
        <dsp:cNvPr id="0" name=""/>
        <dsp:cNvSpPr/>
      </dsp:nvSpPr>
      <dsp:spPr>
        <a:xfrm>
          <a:off x="0" y="2315776"/>
          <a:ext cx="6096000" cy="957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nzahl der Schi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Typ der Schi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rt der Aktivieru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nzahl der Neuronen pro Schicht</a:t>
          </a:r>
        </a:p>
      </dsp:txBody>
      <dsp:txXfrm>
        <a:off x="0" y="2315776"/>
        <a:ext cx="6096000" cy="957375"/>
      </dsp:txXfrm>
    </dsp:sp>
    <dsp:sp modelId="{ABB4A065-1986-433F-9690-CAC2A70B2D57}">
      <dsp:nvSpPr>
        <dsp:cNvPr id="0" name=""/>
        <dsp:cNvSpPr/>
      </dsp:nvSpPr>
      <dsp:spPr>
        <a:xfrm>
          <a:off x="0" y="3273151"/>
          <a:ext cx="6096000" cy="4680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Festlegung der weiteren Hyperparameter</a:t>
          </a:r>
        </a:p>
      </dsp:txBody>
      <dsp:txXfrm>
        <a:off x="22846" y="3295997"/>
        <a:ext cx="6050308" cy="422308"/>
      </dsp:txXfrm>
    </dsp:sp>
    <dsp:sp modelId="{1F1668FF-B4F3-4071-B1F3-F96CF274091A}">
      <dsp:nvSpPr>
        <dsp:cNvPr id="0" name=""/>
        <dsp:cNvSpPr/>
      </dsp:nvSpPr>
      <dsp:spPr>
        <a:xfrm>
          <a:off x="0" y="3741151"/>
          <a:ext cx="6096000" cy="957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r Verlustfunktion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r Epochen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s Optimierungsmechanismus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/>
            <a:t>Wahl der Parameter des Optimierungsmechanismus</a:t>
          </a:r>
          <a:endParaRPr lang="de-DE" sz="1400" kern="1200" dirty="0"/>
        </a:p>
      </dsp:txBody>
      <dsp:txXfrm>
        <a:off x="0" y="3741151"/>
        <a:ext cx="6096000" cy="95737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28561F-3389-4EF8-A729-05D8C9BACB36}">
      <dsp:nvSpPr>
        <dsp:cNvPr id="0" name=""/>
        <dsp:cNvSpPr/>
      </dsp:nvSpPr>
      <dsp:spPr>
        <a:xfrm>
          <a:off x="0" y="19089"/>
          <a:ext cx="6096000" cy="4680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Formulierung des Zusammenhangs</a:t>
          </a:r>
        </a:p>
      </dsp:txBody>
      <dsp:txXfrm>
        <a:off x="22846" y="41935"/>
        <a:ext cx="6050308" cy="422308"/>
      </dsp:txXfrm>
    </dsp:sp>
    <dsp:sp modelId="{627FE9A7-F57C-418C-814B-8629F18B4596}">
      <dsp:nvSpPr>
        <dsp:cNvPr id="0" name=""/>
        <dsp:cNvSpPr/>
      </dsp:nvSpPr>
      <dsp:spPr>
        <a:xfrm>
          <a:off x="0" y="487089"/>
          <a:ext cx="6096000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uswahl und </a:t>
          </a:r>
          <a:r>
            <a:rPr lang="de-DE" sz="1400" b="1" kern="1200" dirty="0"/>
            <a:t>Normierung</a:t>
          </a:r>
          <a:r>
            <a:rPr lang="de-DE" sz="1400" kern="1200" dirty="0"/>
            <a:t> Input- und </a:t>
          </a:r>
          <a:r>
            <a:rPr lang="de-DE" sz="1400" kern="1200" dirty="0" err="1"/>
            <a:t>Outputgrößen</a:t>
          </a:r>
          <a:endParaRPr lang="de-DE" sz="1400" kern="1200" dirty="0"/>
        </a:p>
      </dsp:txBody>
      <dsp:txXfrm>
        <a:off x="0" y="487089"/>
        <a:ext cx="6096000" cy="414000"/>
      </dsp:txXfrm>
    </dsp:sp>
    <dsp:sp modelId="{FF5983FE-E4DE-4E57-AAD4-E6C799C9C3AA}">
      <dsp:nvSpPr>
        <dsp:cNvPr id="0" name=""/>
        <dsp:cNvSpPr/>
      </dsp:nvSpPr>
      <dsp:spPr>
        <a:xfrm>
          <a:off x="0" y="901089"/>
          <a:ext cx="6096000" cy="4680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Vorbereitung der Daten</a:t>
          </a:r>
        </a:p>
      </dsp:txBody>
      <dsp:txXfrm>
        <a:off x="22846" y="923935"/>
        <a:ext cx="6050308" cy="422308"/>
      </dsp:txXfrm>
    </dsp:sp>
    <dsp:sp modelId="{F9477F54-E1FB-47C5-89CE-3DA20E89F061}">
      <dsp:nvSpPr>
        <dsp:cNvPr id="0" name=""/>
        <dsp:cNvSpPr/>
      </dsp:nvSpPr>
      <dsp:spPr>
        <a:xfrm>
          <a:off x="0" y="1369089"/>
          <a:ext cx="6096000" cy="478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Trennung Trainings-, Validierungs-, und Testda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Zuschnitt von X und Y aus der Datensequenz</a:t>
          </a:r>
        </a:p>
      </dsp:txBody>
      <dsp:txXfrm>
        <a:off x="0" y="1369089"/>
        <a:ext cx="6096000" cy="478687"/>
      </dsp:txXfrm>
    </dsp:sp>
    <dsp:sp modelId="{733F7779-83BA-4DAE-BCFA-18BC404F6FA0}">
      <dsp:nvSpPr>
        <dsp:cNvPr id="0" name=""/>
        <dsp:cNvSpPr/>
      </dsp:nvSpPr>
      <dsp:spPr>
        <a:xfrm>
          <a:off x="0" y="1847776"/>
          <a:ext cx="6096000" cy="4680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Aufbau des neuronalen Netzes</a:t>
          </a:r>
        </a:p>
      </dsp:txBody>
      <dsp:txXfrm>
        <a:off x="22846" y="1870622"/>
        <a:ext cx="6050308" cy="422308"/>
      </dsp:txXfrm>
    </dsp:sp>
    <dsp:sp modelId="{05ABDD20-A1EA-4974-B05F-0EC19E638766}">
      <dsp:nvSpPr>
        <dsp:cNvPr id="0" name=""/>
        <dsp:cNvSpPr/>
      </dsp:nvSpPr>
      <dsp:spPr>
        <a:xfrm>
          <a:off x="0" y="2315776"/>
          <a:ext cx="6096000" cy="957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nzahl der Schi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Typ der Schicht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rt der Aktivieru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Anzahl der Neuronen pro Schicht</a:t>
          </a:r>
        </a:p>
      </dsp:txBody>
      <dsp:txXfrm>
        <a:off x="0" y="2315776"/>
        <a:ext cx="6096000" cy="957375"/>
      </dsp:txXfrm>
    </dsp:sp>
    <dsp:sp modelId="{ABB4A065-1986-433F-9690-CAC2A70B2D57}">
      <dsp:nvSpPr>
        <dsp:cNvPr id="0" name=""/>
        <dsp:cNvSpPr/>
      </dsp:nvSpPr>
      <dsp:spPr>
        <a:xfrm>
          <a:off x="0" y="3273151"/>
          <a:ext cx="6096000" cy="4680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Festlegung der Hyperparameter</a:t>
          </a:r>
        </a:p>
      </dsp:txBody>
      <dsp:txXfrm>
        <a:off x="22846" y="3295997"/>
        <a:ext cx="6050308" cy="422308"/>
      </dsp:txXfrm>
    </dsp:sp>
    <dsp:sp modelId="{1F1668FF-B4F3-4071-B1F3-F96CF274091A}">
      <dsp:nvSpPr>
        <dsp:cNvPr id="0" name=""/>
        <dsp:cNvSpPr/>
      </dsp:nvSpPr>
      <dsp:spPr>
        <a:xfrm>
          <a:off x="0" y="3741151"/>
          <a:ext cx="6096000" cy="957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48" tIns="17780" rIns="99568" bIns="17780" numCol="1" spcCol="1270" anchor="t" anchorCtr="0">
          <a:noAutofit/>
        </a:bodyPr>
        <a:lstStyle/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r Verlustfunktion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r Epochen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 dirty="0"/>
            <a:t>Wahl des Optimierungsmechanismus</a:t>
          </a:r>
        </a:p>
        <a:p>
          <a:pPr marL="114300" lvl="1" indent="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400" kern="1200"/>
            <a:t>Wahl der Parameter des Optimierungsmechanismus</a:t>
          </a:r>
          <a:endParaRPr lang="de-DE" sz="1400" kern="1200" dirty="0"/>
        </a:p>
      </dsp:txBody>
      <dsp:txXfrm>
        <a:off x="0" y="3741151"/>
        <a:ext cx="6096000" cy="9573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>
              <a:latin typeface="Verdana" panose="020B060403050404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04A8EF8E-4980-4294-8573-D32C1B156472}" type="datetimeFigureOut">
              <a:rPr lang="de-DE">
                <a:latin typeface="Verdana" panose="020B0604030504040204" pitchFamily="34" charset="0"/>
              </a:rPr>
              <a:pPr>
                <a:defRPr/>
              </a:pPr>
              <a:t>02.05.2023</a:t>
            </a:fld>
            <a:endParaRPr lang="de-DE" dirty="0">
              <a:latin typeface="Verdana" panose="020B060403050404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>
              <a:latin typeface="Verdana" panose="020B060403050404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C9BFA06A-468D-4556-915C-D00A0EF3EB1A}" type="slidenum">
              <a:rPr lang="de-DE">
                <a:latin typeface="Verdana" panose="020B0604030504040204" pitchFamily="34" charset="0"/>
              </a:rPr>
              <a:pPr>
                <a:defRPr/>
              </a:pPr>
              <a:t>‹Nr.›</a:t>
            </a:fld>
            <a:endParaRPr lang="de-DE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3024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5AE3F3DF-ED08-4B24-B3DF-5FB1B77048A5}" type="datetimeFigureOut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054259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0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en-US"/>
              <a:t>Lernziel rechts, Aufbau links mit Nummerierung, Fragen weg</a:t>
            </a:r>
          </a:p>
          <a:p>
            <a:pPr eaLnBrk="1" hangingPunct="1"/>
            <a:endParaRPr lang="en-GB" altLang="en-US"/>
          </a:p>
        </p:txBody>
      </p:sp>
      <p:sp>
        <p:nvSpPr>
          <p:cNvPr id="68611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E8C0BCE-D358-47C5-9E09-E720905476CC}" type="slidenum">
              <a:rPr lang="de-DE" altLang="en-US">
                <a:latin typeface="Calibri" panose="020F0502020204030204" pitchFamily="34" charset="0"/>
              </a:rPr>
              <a:pPr/>
              <a:t>4</a:t>
            </a:fld>
            <a:endParaRPr lang="de-DE" altLang="en-US">
              <a:latin typeface="Calibri" panose="020F050202020403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B85127-2492-4F22-B07C-89910FC110B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0CBF8BDD-2DB4-40F1-A4F9-BC5A1B91B2E6}" type="datetime1">
              <a:rPr lang="de-DE" smtClean="0"/>
              <a:t>02.05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E03D878-1BB7-4E20-A5CF-63E9F26B41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Quantitative Methoden</a:t>
            </a:r>
          </a:p>
        </p:txBody>
      </p:sp>
    </p:spTree>
    <p:extLst>
      <p:ext uri="{BB962C8B-B14F-4D97-AF65-F5344CB8AC3E}">
        <p14:creationId xmlns:p14="http://schemas.microsoft.com/office/powerpoint/2010/main" val="39106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790C4F4-BA76-4979-9FFC-635F9471E38B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254782" y="5157192"/>
            <a:ext cx="7680853" cy="436818"/>
          </a:xfrm>
        </p:spPr>
        <p:txBody>
          <a:bodyPr anchor="b"/>
          <a:lstStyle>
            <a:lvl1pPr marL="0" indent="0" algn="ctr">
              <a:buNone/>
              <a:defRPr sz="2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 des Kapitels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255573" y="5664610"/>
            <a:ext cx="7680853" cy="360040"/>
          </a:xfrm>
        </p:spPr>
        <p:txBody>
          <a:bodyPr anchor="b"/>
          <a:lstStyle>
            <a:lvl1pPr marL="0" indent="0" algn="ctr">
              <a:buNone/>
              <a:defRPr sz="1050" b="1" baseline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Kapitel X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2254782" y="1124746"/>
            <a:ext cx="7680853" cy="3891245"/>
          </a:xfrm>
        </p:spPr>
        <p:txBody>
          <a:bodyPr/>
          <a:lstStyle>
            <a:lvl1pPr marL="0" indent="0" algn="ctr">
              <a:buNone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Ansprechendes Bild für Das Kapitel</a:t>
            </a:r>
            <a:br>
              <a:rPr lang="de-DE" dirty="0"/>
            </a:br>
            <a:r>
              <a:rPr lang="de-DE" dirty="0"/>
              <a:t>Ideen unter: www.pixabay.com</a:t>
            </a:r>
          </a:p>
        </p:txBody>
      </p:sp>
      <p:cxnSp>
        <p:nvCxnSpPr>
          <p:cNvPr id="8" name="Gerade Verbindung 8"/>
          <p:cNvCxnSpPr/>
          <p:nvPr userDrawn="1"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59465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528000" y="6472315"/>
            <a:ext cx="1727573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2E2E928-682D-4BE6-BB68-18483F73F316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215680" y="6472315"/>
            <a:ext cx="576064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613369" y="6472315"/>
            <a:ext cx="8064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560" y="2302563"/>
            <a:ext cx="3131840" cy="2348880"/>
          </a:xfrm>
          <a:prstGeom prst="rect">
            <a:avLst/>
          </a:prstGeom>
        </p:spPr>
      </p:pic>
      <p:sp>
        <p:nvSpPr>
          <p:cNvPr id="9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532800" y="1483200"/>
            <a:ext cx="7483413" cy="4608000"/>
          </a:xfrm>
        </p:spPr>
        <p:txBody>
          <a:bodyPr/>
          <a:lstStyle>
            <a:lvl1pPr marL="257175" indent="-257175">
              <a:buFont typeface="+mj-lt"/>
              <a:buAutoNum type="arabicPeriod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0075" indent="-257175">
              <a:buFont typeface="+mj-lt"/>
              <a:buAutoNum type="arabicPeriod"/>
              <a:defRPr>
                <a:latin typeface="Arial" panose="020B0604020202020204" pitchFamily="34" charset="0"/>
              </a:defRPr>
            </a:lvl2pPr>
            <a:lvl3pPr marL="857250" indent="-171450">
              <a:buFont typeface="+mj-lt"/>
              <a:buAutoNum type="arabicPeriod"/>
              <a:defRPr>
                <a:latin typeface="Arial" panose="020B0604020202020204" pitchFamily="34" charset="0"/>
              </a:defRPr>
            </a:lvl3pPr>
            <a:lvl4pPr marL="1200150" indent="-171450">
              <a:buFont typeface="+mj-lt"/>
              <a:buAutoNum type="arabicPeriod"/>
              <a:defRPr>
                <a:latin typeface="Arial" panose="020B0604020202020204" pitchFamily="34" charset="0"/>
              </a:defRPr>
            </a:lvl4pPr>
            <a:lvl5pPr marL="1543050" indent="-171450">
              <a:buFont typeface="+mj-lt"/>
              <a:buAutoNum type="arabicPeriod"/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27052" y="1052516"/>
            <a:ext cx="7489163" cy="360263"/>
          </a:xfrm>
        </p:spPr>
        <p:txBody>
          <a:bodyPr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Agenda / Inhalt</a:t>
            </a:r>
          </a:p>
        </p:txBody>
      </p:sp>
    </p:spTree>
    <p:extLst>
      <p:ext uri="{BB962C8B-B14F-4D97-AF65-F5344CB8AC3E}">
        <p14:creationId xmlns:p14="http://schemas.microsoft.com/office/powerpoint/2010/main" val="334140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528000" y="835200"/>
            <a:ext cx="108864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dirty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marL="214313" lvl="0" indent="-214313"/>
            <a:r>
              <a:rPr lang="de-DE" dirty="0"/>
              <a:t>Mastertext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6"/>
          </p:nvPr>
        </p:nvSpPr>
        <p:spPr>
          <a:xfrm>
            <a:off x="527052" y="1581402"/>
            <a:ext cx="5281083" cy="431502"/>
          </a:xfr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14313" lvl="0" indent="-214313" algn="ctr"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6133029" y="2132858"/>
            <a:ext cx="5280587" cy="393774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accent4"/>
              </a:buCl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1000" indent="-162000">
              <a:defRPr lang="de-DE" sz="14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marL="189000" lvl="0" indent="-189000"/>
            <a:r>
              <a:rPr lang="de-DE" dirty="0"/>
              <a:t>Mastertextformat bearbeiten</a:t>
            </a:r>
          </a:p>
          <a:p>
            <a:pPr marL="405000" lvl="1" indent="-189000">
              <a:spcBef>
                <a:spcPts val="450"/>
              </a:spcBef>
            </a:pPr>
            <a:r>
              <a:rPr lang="de-DE" dirty="0"/>
              <a:t>Zweite </a:t>
            </a:r>
          </a:p>
          <a:p>
            <a:pPr marL="567000" lvl="2" indent="-189000"/>
            <a:r>
              <a:rPr lang="de-DE" dirty="0"/>
              <a:t>Dritte Ebene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28"/>
          </p:nvPr>
        </p:nvSpPr>
        <p:spPr>
          <a:xfrm>
            <a:off x="6132700" y="1581402"/>
            <a:ext cx="5281083" cy="431502"/>
          </a:xfr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14313" lvl="0" indent="-214313" algn="ctr"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21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465369"/>
            <a:ext cx="1727573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22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465369"/>
            <a:ext cx="5760640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22"/>
          </p:nvPr>
        </p:nvSpPr>
        <p:spPr>
          <a:xfrm>
            <a:off x="10608501" y="6465368"/>
            <a:ext cx="805899" cy="365125"/>
          </a:xfrm>
        </p:spPr>
        <p:txBody>
          <a:bodyPr anchor="ctr"/>
          <a:lstStyle>
            <a:lvl1pPr>
              <a:defRPr sz="9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AC4712D1-4EC1-43DF-A078-666A588BB92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27052" y="6178378"/>
            <a:ext cx="4895851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600"/>
            </a:lvl2pPr>
            <a:lvl3pPr marL="685800" indent="0">
              <a:buNone/>
              <a:defRPr sz="600"/>
            </a:lvl3pPr>
            <a:lvl4pPr marL="1028700" indent="0">
              <a:buNone/>
              <a:defRPr sz="600"/>
            </a:lvl4pPr>
            <a:lvl5pPr marL="1371600" indent="0">
              <a:buNone/>
              <a:defRPr sz="600"/>
            </a:lvl5pPr>
          </a:lstStyle>
          <a:p>
            <a:pPr lvl="0"/>
            <a:endParaRPr lang="de-DE" dirty="0"/>
          </a:p>
        </p:txBody>
      </p:sp>
      <p:sp>
        <p:nvSpPr>
          <p:cNvPr id="25" name="Textplatzhalter 11">
            <a:extLst>
              <a:ext uri="{FF2B5EF4-FFF2-40B4-BE49-F238E27FC236}">
                <a16:creationId xmlns:a16="http://schemas.microsoft.com/office/drawing/2014/main" id="{9393408E-2FB2-4AC6-A591-08A03C1BBA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56108" y="6181350"/>
            <a:ext cx="4357675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600"/>
            </a:lvl2pPr>
            <a:lvl3pPr marL="685800" indent="0">
              <a:buNone/>
              <a:defRPr sz="600"/>
            </a:lvl3pPr>
            <a:lvl4pPr marL="1028700" indent="0">
              <a:buNone/>
              <a:defRPr sz="600"/>
            </a:lvl4pPr>
            <a:lvl5pPr marL="1371600" indent="0">
              <a:buNone/>
              <a:defRPr sz="600"/>
            </a:lvl5pPr>
          </a:lstStyle>
          <a:p>
            <a:pPr lvl="0"/>
            <a:endParaRPr lang="de-DE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559345" y="2151194"/>
            <a:ext cx="5280587" cy="393774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accent4"/>
              </a:buCl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1000" indent="-162000">
              <a:defRPr lang="de-DE" sz="14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marL="189000" lvl="0" indent="-189000"/>
            <a:r>
              <a:rPr lang="de-DE" dirty="0"/>
              <a:t>Mastertextformat bearbeiten</a:t>
            </a:r>
          </a:p>
          <a:p>
            <a:pPr marL="405000" lvl="1" indent="-189000">
              <a:spcBef>
                <a:spcPts val="450"/>
              </a:spcBef>
            </a:pPr>
            <a:r>
              <a:rPr lang="de-DE" dirty="0"/>
              <a:t>Zweite </a:t>
            </a:r>
          </a:p>
          <a:p>
            <a:pPr marL="567000" lvl="2" indent="-189000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483231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>
          <p15:clr>
            <a:srgbClr val="FBAE40"/>
          </p15:clr>
        </p15:guide>
        <p15:guide id="2" pos="5120">
          <p15:clr>
            <a:srgbClr val="FBAE40"/>
          </p15:clr>
        </p15:guide>
        <p15:guide id="3" orient="horz" pos="13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528000" y="835200"/>
            <a:ext cx="108864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dirty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marL="214313" lvl="0" indent="-214313"/>
            <a:r>
              <a:rPr lang="de-DE" dirty="0"/>
              <a:t>Mastertext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6"/>
          </p:nvPr>
        </p:nvSpPr>
        <p:spPr>
          <a:xfrm>
            <a:off x="527052" y="1581402"/>
            <a:ext cx="5281083" cy="431502"/>
          </a:xfr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14313" lvl="0" indent="-214313" algn="ctr"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6133029" y="2132858"/>
            <a:ext cx="5280587" cy="393774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accent4"/>
              </a:buCl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1000" indent="-162000">
              <a:defRPr lang="de-DE" sz="14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marL="189000" lvl="0" indent="-189000"/>
            <a:r>
              <a:rPr lang="de-DE" dirty="0"/>
              <a:t>Mastertextformat bearbeiten</a:t>
            </a:r>
          </a:p>
          <a:p>
            <a:pPr marL="405000" lvl="1" indent="-189000">
              <a:spcBef>
                <a:spcPts val="450"/>
              </a:spcBef>
            </a:pPr>
            <a:r>
              <a:rPr lang="de-DE" dirty="0"/>
              <a:t>Zweite </a:t>
            </a:r>
          </a:p>
          <a:p>
            <a:pPr marL="567000" lvl="2" indent="-189000"/>
            <a:r>
              <a:rPr lang="de-DE" dirty="0"/>
              <a:t>Dritte Ebene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28"/>
          </p:nvPr>
        </p:nvSpPr>
        <p:spPr>
          <a:xfrm>
            <a:off x="6132700" y="1581402"/>
            <a:ext cx="5281083" cy="431502"/>
          </a:xfr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14313" lvl="0" indent="-214313" algn="ctr"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21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472517"/>
            <a:ext cx="1727573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22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472517"/>
            <a:ext cx="5760640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22"/>
          </p:nvPr>
        </p:nvSpPr>
        <p:spPr>
          <a:xfrm>
            <a:off x="10608501" y="6472516"/>
            <a:ext cx="805899" cy="365125"/>
          </a:xfrm>
        </p:spPr>
        <p:txBody>
          <a:bodyPr anchor="ctr"/>
          <a:lstStyle>
            <a:lvl1pPr>
              <a:defRPr sz="9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AC4712D1-4EC1-43DF-A078-666A588BB92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27052" y="6178378"/>
            <a:ext cx="4895851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600"/>
            </a:lvl2pPr>
            <a:lvl3pPr marL="685800" indent="0">
              <a:buNone/>
              <a:defRPr sz="600"/>
            </a:lvl3pPr>
            <a:lvl4pPr marL="1028700" indent="0">
              <a:buNone/>
              <a:defRPr sz="600"/>
            </a:lvl4pPr>
            <a:lvl5pPr marL="1371600" indent="0">
              <a:buNone/>
              <a:defRPr sz="600"/>
            </a:lvl5pPr>
          </a:lstStyle>
          <a:p>
            <a:pPr lvl="0"/>
            <a:endParaRPr lang="de-DE" dirty="0"/>
          </a:p>
        </p:txBody>
      </p:sp>
      <p:sp>
        <p:nvSpPr>
          <p:cNvPr id="25" name="Textplatzhalter 11">
            <a:extLst>
              <a:ext uri="{FF2B5EF4-FFF2-40B4-BE49-F238E27FC236}">
                <a16:creationId xmlns:a16="http://schemas.microsoft.com/office/drawing/2014/main" id="{9393408E-2FB2-4AC6-A591-08A03C1BBA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56108" y="6181350"/>
            <a:ext cx="4357675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600"/>
            </a:lvl2pPr>
            <a:lvl3pPr marL="685800" indent="0">
              <a:buNone/>
              <a:defRPr sz="600"/>
            </a:lvl3pPr>
            <a:lvl4pPr marL="1028700" indent="0">
              <a:buNone/>
              <a:defRPr sz="600"/>
            </a:lvl4pPr>
            <a:lvl5pPr marL="1371600" indent="0">
              <a:buNone/>
              <a:defRPr sz="600"/>
            </a:lvl5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2049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>
          <p15:clr>
            <a:srgbClr val="FBAE40"/>
          </p15:clr>
        </p15:guide>
        <p15:guide id="2" pos="5120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84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528000" y="835200"/>
            <a:ext cx="108864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dirty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marL="160735" lvl="0" indent="-160735"/>
            <a:r>
              <a:rPr lang="de-DE" dirty="0"/>
              <a:t>Mastertextformat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6"/>
          </p:nvPr>
        </p:nvSpPr>
        <p:spPr>
          <a:xfrm>
            <a:off x="527053" y="1556792"/>
            <a:ext cx="5281083" cy="467329"/>
          </a:xfrm>
          <a:solidFill>
            <a:schemeClr val="accent4">
              <a:lumMod val="50000"/>
            </a:schemeClr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6136781" y="1553687"/>
            <a:ext cx="5280587" cy="4513808"/>
          </a:xfrm>
        </p:spPr>
        <p:txBody>
          <a:bodyPr/>
          <a:lstStyle>
            <a:lvl1pPr marL="265113" indent="-265113">
              <a:buClr>
                <a:schemeClr val="accent4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1338" indent="-276225">
              <a:spcBef>
                <a:spcPts val="338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6450" indent="-265113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88">
                <a:latin typeface="+mn-lt"/>
                <a:cs typeface="Arial" panose="020B0604020202020204" pitchFamily="34" charset="0"/>
              </a:defRPr>
            </a:lvl4pPr>
            <a:lvl5pPr>
              <a:defRPr sz="788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19"/>
          <p:cNvSpPr>
            <a:spLocks noGrp="1"/>
          </p:cNvSpPr>
          <p:nvPr>
            <p:ph sz="quarter" idx="30"/>
          </p:nvPr>
        </p:nvSpPr>
        <p:spPr>
          <a:xfrm>
            <a:off x="527053" y="2132856"/>
            <a:ext cx="5281083" cy="3947872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8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472519"/>
            <a:ext cx="1727573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472519"/>
            <a:ext cx="5760640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22"/>
          </p:nvPr>
        </p:nvSpPr>
        <p:spPr>
          <a:xfrm>
            <a:off x="10608501" y="6472518"/>
            <a:ext cx="805899" cy="365125"/>
          </a:xfrm>
        </p:spPr>
        <p:txBody>
          <a:bodyPr anchor="ctr"/>
          <a:lstStyle>
            <a:lvl1pPr>
              <a:defRPr sz="9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22" name="Textplatzhalter 11">
            <a:extLst>
              <a:ext uri="{FF2B5EF4-FFF2-40B4-BE49-F238E27FC236}">
                <a16:creationId xmlns:a16="http://schemas.microsoft.com/office/drawing/2014/main" id="{AC4712D1-4EC1-43DF-A078-666A588BB92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27053" y="6178378"/>
            <a:ext cx="4895851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450"/>
            </a:lvl2pPr>
            <a:lvl3pPr marL="514350" indent="0">
              <a:buNone/>
              <a:defRPr sz="450"/>
            </a:lvl3pPr>
            <a:lvl4pPr marL="771525" indent="0">
              <a:buNone/>
              <a:defRPr sz="450"/>
            </a:lvl4pPr>
            <a:lvl5pPr marL="1028700" indent="0">
              <a:buNone/>
              <a:defRPr sz="450"/>
            </a:lvl5pPr>
          </a:lstStyle>
          <a:p>
            <a:pPr lvl="0"/>
            <a:endParaRPr lang="de-DE" dirty="0"/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9393408E-2FB2-4AC6-A591-08A03C1BBA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56109" y="6181350"/>
            <a:ext cx="4357675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450"/>
            </a:lvl2pPr>
            <a:lvl3pPr marL="514350" indent="0">
              <a:buNone/>
              <a:defRPr sz="450"/>
            </a:lvl3pPr>
            <a:lvl4pPr marL="771525" indent="0">
              <a:buNone/>
              <a:defRPr sz="450"/>
            </a:lvl4pPr>
            <a:lvl5pPr marL="1028700" indent="0">
              <a:buNone/>
              <a:defRPr sz="450"/>
            </a:lvl5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6998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528000" y="835200"/>
            <a:ext cx="108864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dirty="0"/>
              <a:t>Mastertextformat bearbeiten</a:t>
            </a:r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7056108" y="1582235"/>
            <a:ext cx="4357509" cy="447633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accent4"/>
              </a:buCl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4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marL="189000" lvl="0" indent="-189000"/>
            <a:r>
              <a:rPr lang="de-DE" dirty="0"/>
              <a:t>Mastertextformat bearbeiten</a:t>
            </a:r>
          </a:p>
          <a:p>
            <a:pPr marL="405000" lvl="1" indent="-189000">
              <a:spcBef>
                <a:spcPts val="450"/>
              </a:spcBef>
            </a:pPr>
            <a:r>
              <a:rPr lang="de-DE" dirty="0"/>
              <a:t>Zweite </a:t>
            </a:r>
          </a:p>
          <a:p>
            <a:pPr marL="567000" lvl="2" indent="-189000"/>
            <a:r>
              <a:rPr lang="de-DE" dirty="0"/>
              <a:t>Dritte Ebene</a:t>
            </a:r>
          </a:p>
        </p:txBody>
      </p:sp>
      <p:sp>
        <p:nvSpPr>
          <p:cNvPr id="20" name="Inhaltsplatzhalter 19"/>
          <p:cNvSpPr>
            <a:spLocks noGrp="1"/>
          </p:cNvSpPr>
          <p:nvPr>
            <p:ph sz="quarter" idx="30"/>
          </p:nvPr>
        </p:nvSpPr>
        <p:spPr>
          <a:xfrm>
            <a:off x="527052" y="1582629"/>
            <a:ext cx="6145013" cy="4486067"/>
          </a:xfrm>
        </p:spPr>
        <p:txBody>
          <a:bodyPr/>
          <a:lstStyle>
            <a:lvl1pPr>
              <a:buClr>
                <a:schemeClr val="accent4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477401"/>
            <a:ext cx="1727573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477401"/>
            <a:ext cx="5760640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22"/>
          </p:nvPr>
        </p:nvSpPr>
        <p:spPr>
          <a:xfrm>
            <a:off x="10608501" y="6477400"/>
            <a:ext cx="805899" cy="365125"/>
          </a:xfrm>
        </p:spPr>
        <p:txBody>
          <a:bodyPr anchor="ctr"/>
          <a:lstStyle>
            <a:lvl1pPr>
              <a:defRPr sz="9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22" name="Textplatzhalter 11">
            <a:extLst>
              <a:ext uri="{FF2B5EF4-FFF2-40B4-BE49-F238E27FC236}">
                <a16:creationId xmlns:a16="http://schemas.microsoft.com/office/drawing/2014/main" id="{AC4712D1-4EC1-43DF-A078-666A588BB92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27052" y="6178378"/>
            <a:ext cx="4895851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600"/>
            </a:lvl2pPr>
            <a:lvl3pPr marL="685800" indent="0">
              <a:buNone/>
              <a:defRPr sz="600"/>
            </a:lvl3pPr>
            <a:lvl4pPr marL="1028700" indent="0">
              <a:buNone/>
              <a:defRPr sz="600"/>
            </a:lvl4pPr>
            <a:lvl5pPr marL="1371600" indent="0">
              <a:buNone/>
              <a:defRPr sz="600"/>
            </a:lvl5pPr>
          </a:lstStyle>
          <a:p>
            <a:pPr lvl="0"/>
            <a:endParaRPr lang="de-DE" dirty="0"/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9393408E-2FB2-4AC6-A591-08A03C1BBA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56108" y="6181350"/>
            <a:ext cx="4357675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600"/>
            </a:lvl2pPr>
            <a:lvl3pPr marL="685800" indent="0">
              <a:buNone/>
              <a:defRPr sz="600"/>
            </a:lvl3pPr>
            <a:lvl4pPr marL="1028700" indent="0">
              <a:buNone/>
              <a:defRPr sz="600"/>
            </a:lvl4pPr>
            <a:lvl5pPr marL="1371600" indent="0">
              <a:buNone/>
              <a:defRPr sz="600"/>
            </a:lvl5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4445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>
          <p15:clr>
            <a:srgbClr val="FBAE40"/>
          </p15:clr>
        </p15:guide>
        <p15:guide id="2" pos="5120">
          <p15:clr>
            <a:srgbClr val="FBAE40"/>
          </p15:clr>
        </p15:guide>
        <p15:guide id="3" orient="horz" pos="38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528000" y="835200"/>
            <a:ext cx="10886400" cy="504000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4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472519"/>
            <a:ext cx="1727573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8EC0B3-B91B-4733-A192-CCD8754B621D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472519"/>
            <a:ext cx="5760640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>
          <a:xfrm>
            <a:off x="10608501" y="6472518"/>
            <a:ext cx="805899" cy="365125"/>
          </a:xfrm>
        </p:spPr>
        <p:txBody>
          <a:bodyPr anchor="ctr"/>
          <a:lstStyle>
            <a:lvl1pPr>
              <a:defRPr sz="9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C4712D1-4EC1-43DF-A078-666A588BB92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27053" y="6178378"/>
            <a:ext cx="4895851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450"/>
            </a:lvl2pPr>
            <a:lvl3pPr marL="514350" indent="0">
              <a:buNone/>
              <a:defRPr sz="450"/>
            </a:lvl3pPr>
            <a:lvl4pPr marL="771525" indent="0">
              <a:buNone/>
              <a:defRPr sz="450"/>
            </a:lvl4pPr>
            <a:lvl5pPr marL="1028700" indent="0">
              <a:buNone/>
              <a:defRPr sz="450"/>
            </a:lvl5pPr>
          </a:lstStyle>
          <a:p>
            <a:pPr lvl="0"/>
            <a:endParaRPr lang="de-DE" dirty="0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9393408E-2FB2-4AC6-A591-08A03C1BBA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56109" y="6181350"/>
            <a:ext cx="4357675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450"/>
            </a:lvl2pPr>
            <a:lvl3pPr marL="514350" indent="0">
              <a:buNone/>
              <a:defRPr sz="450"/>
            </a:lvl3pPr>
            <a:lvl4pPr marL="771525" indent="0">
              <a:buNone/>
              <a:defRPr sz="450"/>
            </a:lvl4pPr>
            <a:lvl5pPr marL="1028700" indent="0">
              <a:buNone/>
              <a:defRPr sz="450"/>
            </a:lvl5pPr>
          </a:lstStyle>
          <a:p>
            <a:pPr lvl="0"/>
            <a:endParaRPr lang="de-DE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27381" y="1553683"/>
            <a:ext cx="10886400" cy="451691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4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marL="189000" lvl="0" indent="-189000"/>
            <a:r>
              <a:rPr lang="de-DE" dirty="0"/>
              <a:t>Mastertextformat bearbeiten</a:t>
            </a:r>
          </a:p>
          <a:p>
            <a:pPr marL="405000" lvl="1" indent="-189000">
              <a:spcBef>
                <a:spcPts val="450"/>
              </a:spcBef>
            </a:pPr>
            <a:r>
              <a:rPr lang="de-DE" dirty="0"/>
              <a:t>Zweite </a:t>
            </a:r>
          </a:p>
          <a:p>
            <a:pPr marL="567000" lvl="2" indent="-189000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521749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528000" y="835200"/>
            <a:ext cx="108864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DE" sz="1400" dirty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marL="214313" lvl="0" indent="-214313"/>
            <a:endParaRPr lang="de-DE" dirty="0"/>
          </a:p>
        </p:txBody>
      </p:sp>
      <p:sp>
        <p:nvSpPr>
          <p:cNvPr id="18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472517"/>
            <a:ext cx="1727573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472517"/>
            <a:ext cx="5760640" cy="365125"/>
          </a:xfrm>
        </p:spPr>
        <p:txBody>
          <a:bodyPr anchor="ctr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22"/>
          </p:nvPr>
        </p:nvSpPr>
        <p:spPr>
          <a:xfrm>
            <a:off x="10608501" y="6472516"/>
            <a:ext cx="805899" cy="365125"/>
          </a:xfrm>
        </p:spPr>
        <p:txBody>
          <a:bodyPr anchor="ctr"/>
          <a:lstStyle>
            <a:lvl1pPr>
              <a:defRPr sz="9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21" name="Textplatzhalter 11">
            <a:extLst>
              <a:ext uri="{FF2B5EF4-FFF2-40B4-BE49-F238E27FC236}">
                <a16:creationId xmlns:a16="http://schemas.microsoft.com/office/drawing/2014/main" id="{AC4712D1-4EC1-43DF-A078-666A588BB92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27052" y="6178378"/>
            <a:ext cx="4895851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600"/>
            </a:lvl2pPr>
            <a:lvl3pPr marL="685800" indent="0">
              <a:buNone/>
              <a:defRPr sz="600"/>
            </a:lvl3pPr>
            <a:lvl4pPr marL="1028700" indent="0">
              <a:buNone/>
              <a:defRPr sz="600"/>
            </a:lvl4pPr>
            <a:lvl5pPr marL="1371600" indent="0">
              <a:buNone/>
              <a:defRPr sz="600"/>
            </a:lvl5pPr>
          </a:lstStyle>
          <a:p>
            <a:pPr lvl="0"/>
            <a:endParaRPr lang="de-DE" dirty="0"/>
          </a:p>
        </p:txBody>
      </p:sp>
      <p:sp>
        <p:nvSpPr>
          <p:cNvPr id="22" name="Textplatzhalter 11">
            <a:extLst>
              <a:ext uri="{FF2B5EF4-FFF2-40B4-BE49-F238E27FC236}">
                <a16:creationId xmlns:a16="http://schemas.microsoft.com/office/drawing/2014/main" id="{9393408E-2FB2-4AC6-A591-08A03C1BBA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56108" y="6181350"/>
            <a:ext cx="4357675" cy="255460"/>
          </a:xfrm>
          <a:noFill/>
        </p:spPr>
        <p:txBody>
          <a:bodyPr/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600"/>
            </a:lvl2pPr>
            <a:lvl3pPr marL="685800" indent="0">
              <a:buNone/>
              <a:defRPr sz="600"/>
            </a:lvl3pPr>
            <a:lvl4pPr marL="1028700" indent="0">
              <a:buNone/>
              <a:defRPr sz="600"/>
            </a:lvl4pPr>
            <a:lvl5pPr marL="1371600" indent="0">
              <a:buNone/>
              <a:defRPr sz="600"/>
            </a:lvl5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637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6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1026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528000" y="6448251"/>
            <a:ext cx="1727573" cy="365125"/>
          </a:xfrm>
          <a:prstGeom prst="rect">
            <a:avLst/>
          </a:prstGeom>
        </p:spPr>
        <p:txBody>
          <a:bodyPr anchor="ctr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E9BF90D-99DB-4580-B207-722C8FE0400A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15680" y="6448251"/>
            <a:ext cx="5760640" cy="365125"/>
          </a:xfrm>
          <a:prstGeom prst="rect">
            <a:avLst/>
          </a:prstGeom>
        </p:spPr>
        <p:txBody>
          <a:bodyPr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613369" y="6448251"/>
            <a:ext cx="806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cxnSp>
        <p:nvCxnSpPr>
          <p:cNvPr id="12" name="Gerade Verbindung 11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33369" y="1483203"/>
            <a:ext cx="10886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0" y="692696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9" descr="FHAAC_RGB_oBL-r.jp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9771" y="288000"/>
            <a:ext cx="772231" cy="17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652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14313" indent="-214313" algn="l" rtl="0" eaLnBrk="1" fontAlgn="base" hangingPunct="1">
        <a:spcBef>
          <a:spcPct val="20000"/>
        </a:spcBef>
        <a:spcAft>
          <a:spcPts val="450"/>
        </a:spcAft>
        <a:buClr>
          <a:schemeClr val="accent4"/>
        </a:buClr>
        <a:buFont typeface="Wingdings" pitchFamily="2" charset="2"/>
        <a:buChar char="n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71488" indent="-200025" algn="l" rtl="0" eaLnBrk="1" fontAlgn="base" hangingPunct="1">
        <a:spcBef>
          <a:spcPct val="20000"/>
        </a:spcBef>
        <a:spcAft>
          <a:spcPts val="450"/>
        </a:spcAft>
        <a:buClr>
          <a:srgbClr val="7F7F7F"/>
        </a:buClr>
        <a:buFont typeface="Wingdings" pitchFamily="2" charset="2"/>
        <a:buChar char="n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71513" indent="-200025" algn="l" rtl="0" eaLnBrk="1" fontAlgn="base" hangingPunct="1">
        <a:spcBef>
          <a:spcPct val="20000"/>
        </a:spcBef>
        <a:spcAft>
          <a:spcPts val="450"/>
        </a:spcAft>
        <a:buClr>
          <a:srgbClr val="7F7F7F"/>
        </a:buClr>
        <a:buFont typeface="Wingdings" pitchFamily="2" charset="2"/>
        <a:buChar char="n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028700" indent="0" algn="l" rtl="0" eaLnBrk="1" fontAlgn="base" hangingPunct="1">
        <a:spcBef>
          <a:spcPct val="20000"/>
        </a:spcBef>
        <a:spcAft>
          <a:spcPts val="450"/>
        </a:spcAft>
        <a:buClr>
          <a:srgbClr val="7F7F7F"/>
        </a:buClr>
        <a:buFont typeface="Wingdings" pitchFamily="2" charset="2"/>
        <a:buNone/>
        <a:defRPr sz="825" kern="1200">
          <a:solidFill>
            <a:schemeClr val="tx1"/>
          </a:solidFill>
          <a:latin typeface="+mn-lt"/>
          <a:ea typeface="+mn-ea"/>
          <a:cs typeface="+mn-cs"/>
        </a:defRPr>
      </a:lvl4pPr>
      <a:lvl5pPr marL="1500188" indent="-128588" algn="l" rtl="0" eaLnBrk="1" fontAlgn="base" hangingPunct="1">
        <a:spcBef>
          <a:spcPct val="20000"/>
        </a:spcBef>
        <a:spcAft>
          <a:spcPts val="450"/>
        </a:spcAft>
        <a:buClr>
          <a:srgbClr val="7F7F7F"/>
        </a:buClr>
        <a:buFont typeface="Wingdings" pitchFamily="2" charset="2"/>
        <a:buChar char="n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13.emf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0.png"/><Relationship Id="rId3" Type="http://schemas.openxmlformats.org/officeDocument/2006/relationships/image" Target="../media/image160.png"/><Relationship Id="rId7" Type="http://schemas.openxmlformats.org/officeDocument/2006/relationships/image" Target="../media/image21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90.png"/><Relationship Id="rId11" Type="http://schemas.openxmlformats.org/officeDocument/2006/relationships/image" Target="../media/image24.png"/><Relationship Id="rId5" Type="http://schemas.openxmlformats.org/officeDocument/2006/relationships/image" Target="../media/image180.png"/><Relationship Id="rId10" Type="http://schemas.openxmlformats.org/officeDocument/2006/relationships/image" Target="../media/image230.png"/><Relationship Id="rId4" Type="http://schemas.openxmlformats.org/officeDocument/2006/relationships/image" Target="../media/image170.png"/><Relationship Id="rId9" Type="http://schemas.openxmlformats.org/officeDocument/2006/relationships/image" Target="../media/image22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13.emf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11" Type="http://schemas.openxmlformats.org/officeDocument/2006/relationships/image" Target="../media/image32.png"/><Relationship Id="rId5" Type="http://schemas.openxmlformats.org/officeDocument/2006/relationships/image" Target="../media/image27.png"/><Relationship Id="rId10" Type="http://schemas.openxmlformats.org/officeDocument/2006/relationships/image" Target="../media/image23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7" Type="http://schemas.openxmlformats.org/officeDocument/2006/relationships/image" Target="../media/image36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1.png"/><Relationship Id="rId5" Type="http://schemas.openxmlformats.org/officeDocument/2006/relationships/image" Target="../media/image35.png"/><Relationship Id="rId10" Type="http://schemas.openxmlformats.org/officeDocument/2006/relationships/image" Target="../media/image361.png"/><Relationship Id="rId4" Type="http://schemas.openxmlformats.org/officeDocument/2006/relationships/image" Target="../media/image360.png"/><Relationship Id="rId9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450.png"/><Relationship Id="rId7" Type="http://schemas.openxmlformats.org/officeDocument/2006/relationships/image" Target="../media/image40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0.png"/><Relationship Id="rId11" Type="http://schemas.openxmlformats.org/officeDocument/2006/relationships/image" Target="../media/image44.png"/><Relationship Id="rId5" Type="http://schemas.openxmlformats.org/officeDocument/2006/relationships/image" Target="../media/image380.png"/><Relationship Id="rId10" Type="http://schemas.openxmlformats.org/officeDocument/2006/relationships/image" Target="../media/image40.png"/><Relationship Id="rId4" Type="http://schemas.openxmlformats.org/officeDocument/2006/relationships/image" Target="../media/image370.png"/><Relationship Id="rId9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3.png"/><Relationship Id="rId3" Type="http://schemas.openxmlformats.org/officeDocument/2006/relationships/image" Target="../media/image43.png"/><Relationship Id="rId7" Type="http://schemas.openxmlformats.org/officeDocument/2006/relationships/image" Target="../media/image46.png"/><Relationship Id="rId12" Type="http://schemas.openxmlformats.org/officeDocument/2006/relationships/image" Target="../media/image49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2.png"/><Relationship Id="rId11" Type="http://schemas.openxmlformats.org/officeDocument/2006/relationships/image" Target="../media/image48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460.png"/><Relationship Id="rId14" Type="http://schemas.openxmlformats.org/officeDocument/2006/relationships/image" Target="../media/image54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0.png"/><Relationship Id="rId5" Type="http://schemas.openxmlformats.org/officeDocument/2006/relationships/image" Target="../media/image60.png"/><Relationship Id="rId4" Type="http://schemas.openxmlformats.org/officeDocument/2006/relationships/image" Target="../media/image5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6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2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1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62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6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64.png"/><Relationship Id="rId3" Type="http://schemas.openxmlformats.org/officeDocument/2006/relationships/image" Target="../media/image630.png"/><Relationship Id="rId7" Type="http://schemas.openxmlformats.org/officeDocument/2006/relationships/image" Target="../media/image67.png"/><Relationship Id="rId12" Type="http://schemas.openxmlformats.org/officeDocument/2006/relationships/image" Target="../media/image57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6.png"/><Relationship Id="rId11" Type="http://schemas.openxmlformats.org/officeDocument/2006/relationships/image" Target="../media/image71.png"/><Relationship Id="rId5" Type="http://schemas.openxmlformats.org/officeDocument/2006/relationships/image" Target="../media/image65.png"/><Relationship Id="rId15" Type="http://schemas.openxmlformats.org/officeDocument/2006/relationships/image" Target="../media/image591.png"/><Relationship Id="rId10" Type="http://schemas.openxmlformats.org/officeDocument/2006/relationships/image" Target="../media/image70.png"/><Relationship Id="rId4" Type="http://schemas.openxmlformats.org/officeDocument/2006/relationships/image" Target="../media/image640.png"/><Relationship Id="rId9" Type="http://schemas.openxmlformats.org/officeDocument/2006/relationships/image" Target="../media/image69.png"/><Relationship Id="rId14" Type="http://schemas.openxmlformats.org/officeDocument/2006/relationships/image" Target="../media/image7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3.png"/><Relationship Id="rId18" Type="http://schemas.openxmlformats.org/officeDocument/2006/relationships/image" Target="../media/image85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12" Type="http://schemas.openxmlformats.org/officeDocument/2006/relationships/image" Target="../media/image82.png"/><Relationship Id="rId17" Type="http://schemas.openxmlformats.org/officeDocument/2006/relationships/image" Target="../media/image84.png"/><Relationship Id="rId2" Type="http://schemas.openxmlformats.org/officeDocument/2006/relationships/image" Target="../media/image590.png"/><Relationship Id="rId16" Type="http://schemas.openxmlformats.org/officeDocument/2006/relationships/image" Target="../media/image81.png"/><Relationship Id="rId20" Type="http://schemas.openxmlformats.org/officeDocument/2006/relationships/image" Target="../media/image8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15" Type="http://schemas.openxmlformats.org/officeDocument/2006/relationships/image" Target="../media/image80.png"/><Relationship Id="rId19" Type="http://schemas.openxmlformats.org/officeDocument/2006/relationships/image" Target="../media/image86.png"/><Relationship Id="rId4" Type="http://schemas.openxmlformats.org/officeDocument/2006/relationships/image" Target="../media/image74.png"/><Relationship Id="rId14" Type="http://schemas.openxmlformats.org/officeDocument/2006/relationships/image" Target="../media/image7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8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diagramLayout" Target="../diagrams/layout4.xml"/><Relationship Id="rId7" Type="http://schemas.openxmlformats.org/officeDocument/2006/relationships/image" Target="../media/image48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0.png"/><Relationship Id="rId2" Type="http://schemas.openxmlformats.org/officeDocument/2006/relationships/image" Target="../media/image80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diagramLayout" Target="../diagrams/layout5.xml"/><Relationship Id="rId7" Type="http://schemas.openxmlformats.org/officeDocument/2006/relationships/image" Target="../media/image48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diagramLayout" Target="../diagrams/layout7.xml"/><Relationship Id="rId7" Type="http://schemas.openxmlformats.org/officeDocument/2006/relationships/image" Target="../media/image48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diagramLayout" Target="../diagrams/layout8.xml"/><Relationship Id="rId7" Type="http://schemas.openxmlformats.org/officeDocument/2006/relationships/image" Target="../media/image48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4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0.png"/><Relationship Id="rId3" Type="http://schemas.openxmlformats.org/officeDocument/2006/relationships/image" Target="../media/image96.emf"/><Relationship Id="rId7" Type="http://schemas.openxmlformats.org/officeDocument/2006/relationships/image" Target="../media/image500.png"/><Relationship Id="rId2" Type="http://schemas.openxmlformats.org/officeDocument/2006/relationships/image" Target="../media/image44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0.png"/><Relationship Id="rId5" Type="http://schemas.openxmlformats.org/officeDocument/2006/relationships/image" Target="../media/image480.png"/><Relationship Id="rId4" Type="http://schemas.openxmlformats.org/officeDocument/2006/relationships/image" Target="../media/image47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0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lehmanns.de/search/new/author/Jochen+Hirschle?PHPSESSID=h0hi2nuk7nvpohqeq5oma61aok" TargetMode="Externa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315D168-F615-49DC-995A-8C86A294B9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F99BB19-B36E-4EF6-99B3-8BD6259D1724}" type="datetime1">
              <a:rPr lang="de-DE" smtClean="0"/>
              <a:t>02.05.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F27DBE-3851-4564-B73F-9DDBAEE43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Prof. Dr. Ralf Schemm |  Energiewirtschaft &amp; Energiesystem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ACFC9D8-57D2-4D01-A79A-419F3985E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D26EF2-675B-435A-876A-615F7C72E7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ctr"/>
          <a:lstStyle/>
          <a:p>
            <a:r>
              <a:rPr lang="de-DE" sz="1500" dirty="0"/>
              <a:t>Einführung in neuronale Netz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071EBB-7AA5-4BAB-B3F9-A6D5CCD329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nergiedatenanalyse - Dataminin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A0E2A49-1500-46CD-B10B-812365C3C6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3323" y="1124744"/>
            <a:ext cx="8096190" cy="3505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301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35FC5BD-E434-40D2-8A3F-811904B055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188FA6-98AE-4182-8F87-C402A020843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944164-11C5-4D82-B9FF-767BF33FA44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9E0848-1EB8-4B63-83A6-16E49FD5C3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0</a:t>
            </a:fld>
            <a:endParaRPr lang="de-DE" alt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FEBE8-2EDF-47DF-BBD4-1B24238F75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C4DCCC-17D0-41ED-BA33-A95907EC11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FA0D494-58B5-4163-9249-D02FCF3E5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3055809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Aufbau eines Neurons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neuronalen Netzes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09CFA46-983B-4E98-B22A-846CB1070E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3055809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Grundsätzliche Begrifflichkeiten und Notationen</a:t>
            </a:r>
            <a:endParaRPr lang="en-GB" sz="1400" dirty="0">
              <a:latin typeface="Arial 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BF0D63D-1EC6-4797-B44C-33F2F0B2B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3054237"/>
            <a:ext cx="669313" cy="524172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1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7ACCB92-C326-40C9-9BD8-BDD4EB28D3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3698038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dirty="0" err="1"/>
              <a:t>Gradientenabstiegs</a:t>
            </a:r>
            <a:r>
              <a:rPr lang="de-DE" altLang="de-DE" sz="1400" dirty="0"/>
              <a:t>-Verfahr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B6A8C30-BA96-4119-86B3-540C55AAE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3698038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Motivation des Verfahrens und nachvollziehen der „Mathematik“</a:t>
            </a:r>
            <a:endParaRPr lang="en-GB" sz="1400" dirty="0">
              <a:latin typeface="Arial 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1D0149-C70A-4A51-B3C1-A61DA4B17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3698038"/>
            <a:ext cx="669313" cy="522599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2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B472079-B7B9-4185-8F76-B4E34ABDB1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4340267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führung in </a:t>
            </a:r>
            <a:r>
              <a:rPr lang="de-DE" sz="1400" dirty="0" err="1">
                <a:latin typeface="Arial "/>
              </a:rPr>
              <a:t>Tensorflow</a:t>
            </a:r>
            <a:r>
              <a:rPr lang="de-DE" sz="1400" dirty="0">
                <a:latin typeface="Arial "/>
              </a:rPr>
              <a:t> und Keras</a:t>
            </a:r>
            <a:endParaRPr lang="en-GB" sz="1400" dirty="0">
              <a:latin typeface="Arial 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65BE198-034B-416E-82F1-C14F29A42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4340267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Verstehen der API </a:t>
            </a:r>
            <a:r>
              <a:rPr lang="de-DE" sz="1400" dirty="0" err="1">
                <a:latin typeface="Arial "/>
              </a:rPr>
              <a:t>Sequential</a:t>
            </a:r>
            <a:r>
              <a:rPr lang="de-DE" sz="1400" dirty="0">
                <a:latin typeface="Arial "/>
              </a:rPr>
              <a:t>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Einsatz des </a:t>
            </a:r>
            <a:r>
              <a:rPr lang="de-DE" sz="1400" dirty="0" err="1">
                <a:latin typeface="Arial "/>
              </a:rPr>
              <a:t>Dense</a:t>
            </a:r>
            <a:r>
              <a:rPr lang="de-DE" sz="1400" dirty="0">
                <a:latin typeface="Arial "/>
              </a:rPr>
              <a:t> Layer</a:t>
            </a:r>
            <a:endParaRPr lang="en-GB" sz="1400" dirty="0">
              <a:latin typeface="Arial 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163A116-2091-4D5A-84AD-93787C783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4327674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3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F21A2C-735D-472B-B9AF-5B96B6950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4986465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satz Feed </a:t>
            </a:r>
            <a:r>
              <a:rPr lang="de-DE" sz="1400" dirty="0" err="1">
                <a:latin typeface="Arial "/>
              </a:rPr>
              <a:t>Forwardnetze</a:t>
            </a:r>
            <a:r>
              <a:rPr lang="de-DE" sz="1400" dirty="0">
                <a:latin typeface="Arial "/>
              </a:rPr>
              <a:t> zur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Modellierung der Windeinspeisung</a:t>
            </a:r>
            <a:endParaRPr lang="en-GB" sz="1400" dirty="0">
              <a:latin typeface="Arial 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F0A3870-1094-4B34-AF89-AFCB35C9D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4986465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Relevante Features und Netzarchitektur für die Fragestellung</a:t>
            </a:r>
            <a:endParaRPr lang="en-GB" sz="1400" dirty="0">
              <a:latin typeface="Arial 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8A88D0B-140C-47B8-A8E8-4878754B6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4973872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636894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Mit Hilfe eines neuronalen Netzes können Input-Informationen anhand definierter Funktionen verarbeitet und in ein Output ausgegeben werden.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1</a:t>
            </a:fld>
            <a:endParaRPr lang="de-DE" alt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u="sng" dirty="0"/>
              <a:t>Feed-Forward Networks</a:t>
            </a:r>
            <a:r>
              <a:rPr lang="de-DE" dirty="0"/>
              <a:t>: Information fließt vom </a:t>
            </a:r>
            <a:r>
              <a:rPr lang="de-DE" b="1" dirty="0"/>
              <a:t>Input</a:t>
            </a:r>
            <a:r>
              <a:rPr lang="de-DE" dirty="0"/>
              <a:t> Layer nur in einer Richtung zum </a:t>
            </a:r>
            <a:r>
              <a:rPr lang="de-DE" b="1" dirty="0"/>
              <a:t>Output</a:t>
            </a:r>
            <a:r>
              <a:rPr lang="de-DE" dirty="0"/>
              <a:t> Layer. </a:t>
            </a:r>
            <a:br>
              <a:rPr lang="de-DE" dirty="0"/>
            </a:br>
            <a:endParaRPr lang="de-DE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2033814" y="1963713"/>
            <a:ext cx="8094437" cy="3626068"/>
            <a:chOff x="2033814" y="1963713"/>
            <a:chExt cx="8094437" cy="4461315"/>
          </a:xfrm>
        </p:grpSpPr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927648" y="2693663"/>
              <a:ext cx="6030954" cy="3376938"/>
            </a:xfrm>
            <a:prstGeom prst="rect">
              <a:avLst/>
            </a:prstGeom>
          </p:spPr>
        </p:pic>
        <p:sp>
          <p:nvSpPr>
            <p:cNvPr id="15" name="Textfeld 14"/>
            <p:cNvSpPr txBox="1"/>
            <p:nvPr/>
          </p:nvSpPr>
          <p:spPr>
            <a:xfrm>
              <a:off x="2033814" y="2582524"/>
              <a:ext cx="1787669" cy="1631216"/>
            </a:xfrm>
            <a:prstGeom prst="rect">
              <a:avLst/>
            </a:prstGeom>
            <a:ln w="28575"/>
          </p:spPr>
          <p:txBody>
            <a:bodyPr wrap="non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de-DE" sz="1200" b="1" dirty="0"/>
                <a:t>Input (WKA)</a:t>
              </a:r>
            </a:p>
            <a:p>
              <a:pPr marL="171450" indent="-1714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de-DE" sz="1200" dirty="0"/>
                <a:t>Temperatur</a:t>
              </a:r>
            </a:p>
            <a:p>
              <a:pPr marL="171450" indent="-1714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de-DE" sz="1200" dirty="0"/>
                <a:t>Windgeschwindigkeit</a:t>
              </a:r>
            </a:p>
            <a:p>
              <a:pPr marL="171450" indent="-1714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de-DE" sz="1200" dirty="0"/>
                <a:t>Windrichtung</a:t>
              </a:r>
            </a:p>
            <a:p>
              <a:pPr marL="171450" indent="-171450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de-DE" sz="1200" dirty="0"/>
                <a:t>…</a:t>
              </a:r>
            </a:p>
          </p:txBody>
        </p:sp>
        <p:sp>
          <p:nvSpPr>
            <p:cNvPr id="16" name="Geschweifte Klammer rechts 15"/>
            <p:cNvSpPr/>
            <p:nvPr/>
          </p:nvSpPr>
          <p:spPr>
            <a:xfrm rot="16200000">
              <a:off x="5261955" y="1034642"/>
              <a:ext cx="360040" cy="2850227"/>
            </a:xfrm>
            <a:prstGeom prst="rightBrace">
              <a:avLst/>
            </a:prstGeom>
            <a:ln w="19050"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3935217" y="1963713"/>
              <a:ext cx="3249159" cy="276999"/>
            </a:xfrm>
            <a:prstGeom prst="rect">
              <a:avLst/>
            </a:prstGeom>
            <a:ln w="28575"/>
          </p:spPr>
          <p:txBody>
            <a:bodyPr wrap="non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de-DE" sz="1200" b="1" dirty="0"/>
                <a:t>Sequentielle Verarbeitung der Information</a:t>
              </a:r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8868685" y="4074356"/>
              <a:ext cx="785793" cy="615553"/>
            </a:xfrm>
            <a:prstGeom prst="rect">
              <a:avLst/>
            </a:prstGeom>
            <a:ln w="28575"/>
          </p:spPr>
          <p:txBody>
            <a:bodyPr wrap="non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de-DE" sz="1200" b="1" dirty="0"/>
                <a:t>Output: </a:t>
              </a:r>
            </a:p>
            <a:p>
              <a:pPr>
                <a:spcAft>
                  <a:spcPts val="1200"/>
                </a:spcAft>
              </a:pPr>
              <a:r>
                <a:rPr lang="de-DE" sz="1200" dirty="0"/>
                <a:t>Leistung</a:t>
              </a: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5271133" y="6148029"/>
              <a:ext cx="1326004" cy="276999"/>
            </a:xfrm>
            <a:prstGeom prst="rect">
              <a:avLst/>
            </a:prstGeom>
            <a:ln w="28575"/>
          </p:spPr>
          <p:txBody>
            <a:bodyPr wrap="non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de-DE" sz="1200" b="1" dirty="0"/>
                <a:t>Schicht = Layer</a:t>
              </a:r>
            </a:p>
          </p:txBody>
        </p:sp>
        <p:sp>
          <p:nvSpPr>
            <p:cNvPr id="20" name="Abgerundetes Rechteck 19"/>
            <p:cNvSpPr/>
            <p:nvPr/>
          </p:nvSpPr>
          <p:spPr>
            <a:xfrm>
              <a:off x="5230931" y="2579807"/>
              <a:ext cx="455601" cy="3513489"/>
            </a:xfrm>
            <a:prstGeom prst="roundRect">
              <a:avLst/>
            </a:prstGeom>
            <a:solidFill>
              <a:srgbClr val="33CCCC">
                <a:alpha val="10196"/>
              </a:srgbClr>
            </a:solidFill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de-DE" sz="1400" dirty="0"/>
            </a:p>
          </p:txBody>
        </p:sp>
        <p:sp>
          <p:nvSpPr>
            <p:cNvPr id="21" name="Abgerundetes Rechteck 20"/>
            <p:cNvSpPr/>
            <p:nvPr/>
          </p:nvSpPr>
          <p:spPr>
            <a:xfrm>
              <a:off x="6373964" y="2579807"/>
              <a:ext cx="455601" cy="3513489"/>
            </a:xfrm>
            <a:prstGeom prst="roundRect">
              <a:avLst/>
            </a:prstGeom>
            <a:solidFill>
              <a:srgbClr val="33CCCC">
                <a:alpha val="10196"/>
              </a:srgbClr>
            </a:solidFill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de-DE" sz="1400" dirty="0"/>
            </a:p>
          </p:txBody>
        </p:sp>
        <p:sp>
          <p:nvSpPr>
            <p:cNvPr id="22" name="Abgerundetes Rechteck 21"/>
            <p:cNvSpPr/>
            <p:nvPr/>
          </p:nvSpPr>
          <p:spPr>
            <a:xfrm>
              <a:off x="7463179" y="2579807"/>
              <a:ext cx="455601" cy="3513489"/>
            </a:xfrm>
            <a:prstGeom prst="roundRect">
              <a:avLst/>
            </a:prstGeom>
            <a:solidFill>
              <a:srgbClr val="33CCCC">
                <a:alpha val="10196"/>
              </a:srgbClr>
            </a:solidFill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de-DE" sz="1400" dirty="0"/>
            </a:p>
          </p:txBody>
        </p:sp>
        <p:sp>
          <p:nvSpPr>
            <p:cNvPr id="23" name="Abgerundetes Rechteck 22"/>
            <p:cNvSpPr/>
            <p:nvPr/>
          </p:nvSpPr>
          <p:spPr>
            <a:xfrm>
              <a:off x="4105197" y="2517432"/>
              <a:ext cx="455601" cy="3513489"/>
            </a:xfrm>
            <a:prstGeom prst="roundRect">
              <a:avLst/>
            </a:prstGeom>
            <a:solidFill>
              <a:srgbClr val="33CCCC">
                <a:alpha val="10196"/>
              </a:srgbClr>
            </a:solidFill>
            <a:ln>
              <a:solidFill>
                <a:schemeClr val="accent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de-DE" sz="1400" dirty="0"/>
            </a:p>
          </p:txBody>
        </p:sp>
        <p:cxnSp>
          <p:nvCxnSpPr>
            <p:cNvPr id="25" name="Gerade Verbindung mit Pfeil 24"/>
            <p:cNvCxnSpPr>
              <a:cxnSpLocks/>
              <a:stCxn id="19" idx="1"/>
            </p:cNvCxnSpPr>
            <p:nvPr/>
          </p:nvCxnSpPr>
          <p:spPr>
            <a:xfrm flipH="1" flipV="1">
              <a:off x="4538219" y="5844311"/>
              <a:ext cx="732914" cy="442218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mit Pfeil 25"/>
            <p:cNvCxnSpPr>
              <a:cxnSpLocks/>
              <a:stCxn id="19" idx="3"/>
            </p:cNvCxnSpPr>
            <p:nvPr/>
          </p:nvCxnSpPr>
          <p:spPr>
            <a:xfrm flipV="1">
              <a:off x="6597137" y="5621400"/>
              <a:ext cx="988224" cy="665129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/>
            <p:cNvCxnSpPr>
              <a:cxnSpLocks/>
            </p:cNvCxnSpPr>
            <p:nvPr/>
          </p:nvCxnSpPr>
          <p:spPr>
            <a:xfrm flipV="1">
              <a:off x="6103009" y="5643130"/>
              <a:ext cx="451014" cy="527594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>
              <a:cxnSpLocks/>
            </p:cNvCxnSpPr>
            <p:nvPr/>
          </p:nvCxnSpPr>
          <p:spPr>
            <a:xfrm flipH="1" flipV="1">
              <a:off x="5438412" y="5613634"/>
              <a:ext cx="256824" cy="568106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/>
            <p:cNvSpPr txBox="1"/>
            <p:nvPr/>
          </p:nvSpPr>
          <p:spPr>
            <a:xfrm>
              <a:off x="8261545" y="2582525"/>
              <a:ext cx="1425390" cy="276999"/>
            </a:xfrm>
            <a:prstGeom prst="rect">
              <a:avLst/>
            </a:prstGeom>
            <a:ln w="28575"/>
          </p:spPr>
          <p:txBody>
            <a:bodyPr wrap="non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de-DE" sz="1200" dirty="0" err="1"/>
                <a:t>hidden</a:t>
              </a:r>
              <a:r>
                <a:rPr lang="de-DE" sz="1200" dirty="0"/>
                <a:t> = verdeckt</a:t>
              </a:r>
            </a:p>
          </p:txBody>
        </p:sp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652934" y="4869027"/>
              <a:ext cx="1475317" cy="1100113"/>
            </a:xfrm>
            <a:prstGeom prst="rect">
              <a:avLst/>
            </a:prstGeom>
          </p:spPr>
        </p:pic>
      </p:grpSp>
      <p:sp>
        <p:nvSpPr>
          <p:cNvPr id="3" name="Pfeil nach rechts 2"/>
          <p:cNvSpPr/>
          <p:nvPr/>
        </p:nvSpPr>
        <p:spPr>
          <a:xfrm>
            <a:off x="1991544" y="5571335"/>
            <a:ext cx="8208912" cy="337344"/>
          </a:xfrm>
          <a:prstGeom prst="rightArrow">
            <a:avLst/>
          </a:prstGeom>
          <a:ln w="3810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8009544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platzhalter 1"/>
              <p:cNvSpPr>
                <a:spLocks noGrp="1"/>
              </p:cNvSpPr>
              <p:nvPr>
                <p:ph type="body" sz="quarter" idx="18"/>
              </p:nvPr>
            </p:nvSpPr>
            <p:spPr/>
            <p:txBody>
              <a:bodyPr/>
              <a:lstStyle/>
              <a:p>
                <a:pPr algn="ctr"/>
                <a:r>
                  <a:rPr lang="de-DE" dirty="0"/>
                  <a:t>Ein Neuron verarbeitet Eingangssignale durch Aktivierung mit Hilfe einer definierten Funktion </a:t>
                </a:r>
                <a14:m>
                  <m:oMath xmlns:m="http://schemas.openxmlformats.org/officeDocument/2006/math">
                    <m:r>
                      <a:rPr lang="de-DE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</m:oMath>
                </a14:m>
                <a:endParaRPr lang="de-DE" dirty="0"/>
              </a:p>
              <a:p>
                <a:pPr algn="ctr"/>
                <a:r>
                  <a:rPr lang="de-DE" dirty="0"/>
                  <a:t> in ein Ausgangssignal</a:t>
                </a:r>
              </a:p>
            </p:txBody>
          </p:sp>
        </mc:Choice>
        <mc:Fallback xmlns="">
          <p:sp>
            <p:nvSpPr>
              <p:cNvPr id="2" name="Textplatzhalt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8"/>
              </p:nvPr>
            </p:nvSpPr>
            <p:spPr>
              <a:blipFill>
                <a:blip r:embed="rId2"/>
                <a:stretch>
                  <a:fillRect t="-2410" b="-373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2</a:t>
            </a:fld>
            <a:endParaRPr lang="de-DE" alt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Pfeil nach unten 9"/>
          <p:cNvSpPr/>
          <p:nvPr/>
        </p:nvSpPr>
        <p:spPr>
          <a:xfrm rot="16200000">
            <a:off x="2630779" y="3756723"/>
            <a:ext cx="432048" cy="408980"/>
          </a:xfrm>
          <a:prstGeom prst="downArrow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38D5CD70-5BCD-48CB-8AF3-FEA540FED672}"/>
                  </a:ext>
                </a:extLst>
              </p:cNvPr>
              <p:cNvSpPr txBox="1"/>
              <p:nvPr/>
            </p:nvSpPr>
            <p:spPr>
              <a:xfrm>
                <a:off x="3287688" y="1916832"/>
                <a:ext cx="1906035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400" dirty="0"/>
                  <a:t>Verbindungen/Kanten</a:t>
                </a:r>
              </a:p>
              <a:p>
                <a:pPr algn="ctr"/>
                <a:r>
                  <a:rPr lang="de-DE" sz="1400" dirty="0"/>
                  <a:t>Gewichte </a:t>
                </a:r>
                <a14:m>
                  <m:oMath xmlns:m="http://schemas.openxmlformats.org/officeDocument/2006/math">
                    <m:r>
                      <a:rPr lang="de-DE" sz="1400" b="1" i="1">
                        <a:latin typeface="Cambria Math" panose="02040503050406030204" pitchFamily="18" charset="0"/>
                      </a:rPr>
                      <m:t>𝒘</m:t>
                    </m:r>
                  </m:oMath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38D5CD70-5BCD-48CB-8AF3-FEA540FED6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87688" y="1916832"/>
                <a:ext cx="1906035" cy="523220"/>
              </a:xfrm>
              <a:prstGeom prst="rect">
                <a:avLst/>
              </a:prstGeom>
              <a:blipFill>
                <a:blip r:embed="rId3"/>
                <a:stretch>
                  <a:fillRect t="-1163" b="-116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Pfeil nach unten 11"/>
          <p:cNvSpPr/>
          <p:nvPr/>
        </p:nvSpPr>
        <p:spPr>
          <a:xfrm>
            <a:off x="4169282" y="2580088"/>
            <a:ext cx="432048" cy="408980"/>
          </a:xfrm>
          <a:prstGeom prst="downArrow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8D5CD70-5BCD-48CB-8AF3-FEA540FED672}"/>
              </a:ext>
            </a:extLst>
          </p:cNvPr>
          <p:cNvSpPr txBox="1"/>
          <p:nvPr/>
        </p:nvSpPr>
        <p:spPr>
          <a:xfrm>
            <a:off x="1844444" y="2882460"/>
            <a:ext cx="15488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Eingangssignale/</a:t>
            </a:r>
          </a:p>
          <a:p>
            <a:pPr algn="ctr"/>
            <a:r>
              <a:rPr lang="de-DE" sz="1400" dirty="0"/>
              <a:t>Merkmale </a:t>
            </a:r>
            <a:r>
              <a:rPr lang="de-DE" sz="1400" b="1" dirty="0"/>
              <a:t>x</a:t>
            </a:r>
          </a:p>
        </p:txBody>
      </p:sp>
      <p:sp>
        <p:nvSpPr>
          <p:cNvPr id="15" name="Pfeil nach unten 14"/>
          <p:cNvSpPr/>
          <p:nvPr/>
        </p:nvSpPr>
        <p:spPr>
          <a:xfrm rot="10800000" flipV="1">
            <a:off x="5307116" y="2996700"/>
            <a:ext cx="432048" cy="408980"/>
          </a:xfrm>
          <a:prstGeom prst="downArrow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17" name="Pfeil nach unten 16"/>
          <p:cNvSpPr/>
          <p:nvPr/>
        </p:nvSpPr>
        <p:spPr>
          <a:xfrm rot="10800000">
            <a:off x="6815109" y="5226588"/>
            <a:ext cx="432048" cy="408980"/>
          </a:xfrm>
          <a:prstGeom prst="downArrow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38D5CD70-5BCD-48CB-8AF3-FEA540FED672}"/>
              </a:ext>
            </a:extLst>
          </p:cNvPr>
          <p:cNvSpPr txBox="1"/>
          <p:nvPr/>
        </p:nvSpPr>
        <p:spPr>
          <a:xfrm>
            <a:off x="8060109" y="2459191"/>
            <a:ext cx="14991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Ausgangssignal/</a:t>
            </a:r>
            <a:br>
              <a:rPr lang="de-DE" sz="1400" dirty="0"/>
            </a:br>
            <a:r>
              <a:rPr lang="de-DE" sz="1400" dirty="0"/>
              <a:t>Output</a:t>
            </a:r>
            <a:endParaRPr lang="de-DE" sz="14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3525463" y="2870036"/>
                <a:ext cx="371512" cy="2154436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b="0" dirty="0"/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5463" y="2870036"/>
                <a:ext cx="371512" cy="215443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Gerade Verbindung mit Pfeil 22"/>
          <p:cNvCxnSpPr/>
          <p:nvPr/>
        </p:nvCxnSpPr>
        <p:spPr>
          <a:xfrm>
            <a:off x="3870304" y="3109480"/>
            <a:ext cx="933140" cy="78373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0" idx="3"/>
            <a:endCxn id="38" idx="1"/>
          </p:cNvCxnSpPr>
          <p:nvPr/>
        </p:nvCxnSpPr>
        <p:spPr>
          <a:xfrm>
            <a:off x="3896975" y="3947254"/>
            <a:ext cx="915234" cy="29348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 flipV="1">
            <a:off x="3829332" y="4574920"/>
            <a:ext cx="974112" cy="199652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lipse 25">
            <a:extLst>
              <a:ext uri="{FF2B5EF4-FFF2-40B4-BE49-F238E27FC236}">
                <a16:creationId xmlns:a16="http://schemas.microsoft.com/office/drawing/2014/main" id="{4B80166D-3890-4CFA-9518-DCBC4FDFE3A8}"/>
              </a:ext>
            </a:extLst>
          </p:cNvPr>
          <p:cNvSpPr/>
          <p:nvPr/>
        </p:nvSpPr>
        <p:spPr>
          <a:xfrm>
            <a:off x="4950919" y="3735668"/>
            <a:ext cx="1122045" cy="1134111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prstTxWarp prst="textNoShape">
              <a:avLst/>
            </a:prstTxWarp>
            <a:noAutofit/>
          </a:bodyPr>
          <a:lstStyle/>
          <a:p>
            <a:pPr algn="ctr"/>
            <a:endParaRPr lang="de-DE" sz="6000" b="1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E2E326B-F201-46C0-8C11-D3AC78302C68}"/>
              </a:ext>
            </a:extLst>
          </p:cNvPr>
          <p:cNvSpPr txBox="1"/>
          <p:nvPr/>
        </p:nvSpPr>
        <p:spPr>
          <a:xfrm>
            <a:off x="4964355" y="2355820"/>
            <a:ext cx="10951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Netto-</a:t>
            </a:r>
          </a:p>
          <a:p>
            <a:pPr algn="ctr"/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Eingabe z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50F66288-D938-4BD0-AD3B-4C597872EA95}"/>
                  </a:ext>
                </a:extLst>
              </p:cNvPr>
              <p:cNvSpPr txBox="1"/>
              <p:nvPr/>
            </p:nvSpPr>
            <p:spPr>
              <a:xfrm>
                <a:off x="6482898" y="2411925"/>
                <a:ext cx="1369286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600" u="sng" dirty="0">
                    <a:latin typeface="Arial" panose="020B0604020202020204" pitchFamily="34" charset="0"/>
                    <a:cs typeface="Arial" panose="020B0604020202020204" pitchFamily="34" charset="0"/>
                  </a:rPr>
                  <a:t>Aktivierungs-</a:t>
                </a:r>
              </a:p>
              <a:p>
                <a:pPr algn="ctr"/>
                <a:r>
                  <a:rPr lang="de-DE" sz="1600" u="sng" dirty="0">
                    <a:latin typeface="Arial" panose="020B0604020202020204" pitchFamily="34" charset="0"/>
                    <a:cs typeface="Arial" panose="020B0604020202020204" pitchFamily="34" charset="0"/>
                  </a:rPr>
                  <a:t>Funktion </a:t>
                </a:r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50F66288-D938-4BD0-AD3B-4C597872EA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2898" y="2411925"/>
                <a:ext cx="1369286" cy="584775"/>
              </a:xfrm>
              <a:prstGeom prst="rect">
                <a:avLst/>
              </a:prstGeom>
              <a:blipFill>
                <a:blip r:embed="rId5"/>
                <a:stretch>
                  <a:fillRect l="-889" t="-3125" r="-889" b="-125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3872ECB0-46B2-4482-B2D6-AF6A2EF7B205}"/>
                  </a:ext>
                </a:extLst>
              </p:cNvPr>
              <p:cNvSpPr txBox="1"/>
              <p:nvPr/>
            </p:nvSpPr>
            <p:spPr>
              <a:xfrm>
                <a:off x="4995621" y="3894196"/>
                <a:ext cx="1214035" cy="754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𝒛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𝒏</m:t>
                          </m:r>
                        </m:sup>
                        <m:e>
                          <m:sSub>
                            <m:sSubPr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3872ECB0-46B2-4482-B2D6-AF6A2EF7B2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5621" y="3894196"/>
                <a:ext cx="1214035" cy="75488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Ellipse 31">
            <a:extLst>
              <a:ext uri="{FF2B5EF4-FFF2-40B4-BE49-F238E27FC236}">
                <a16:creationId xmlns:a16="http://schemas.microsoft.com/office/drawing/2014/main" id="{F6DCB593-1D68-4065-8482-F6841B1FB100}"/>
              </a:ext>
            </a:extLst>
          </p:cNvPr>
          <p:cNvSpPr/>
          <p:nvPr/>
        </p:nvSpPr>
        <p:spPr>
          <a:xfrm>
            <a:off x="6628971" y="3735668"/>
            <a:ext cx="1122045" cy="1134111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prstTxWarp prst="textNoShape">
              <a:avLst/>
            </a:prstTxWarp>
            <a:noAutofit/>
          </a:bodyPr>
          <a:lstStyle/>
          <a:p>
            <a:pPr algn="ctr"/>
            <a:endParaRPr lang="de-DE" sz="6000" b="1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4700729" y="3924995"/>
            <a:ext cx="3601045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38" name="Abgerundetes Rechteck 37"/>
          <p:cNvSpPr/>
          <p:nvPr/>
        </p:nvSpPr>
        <p:spPr>
          <a:xfrm>
            <a:off x="4812209" y="3529521"/>
            <a:ext cx="4487797" cy="1422441"/>
          </a:xfrm>
          <a:prstGeom prst="roundRect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39" name="Textfeld 38"/>
          <p:cNvSpPr txBox="1"/>
          <p:nvPr/>
        </p:nvSpPr>
        <p:spPr>
          <a:xfrm>
            <a:off x="4968336" y="3525804"/>
            <a:ext cx="65" cy="184666"/>
          </a:xfrm>
          <a:prstGeom prst="rect">
            <a:avLst/>
          </a:prstGeom>
          <a:ln w="28575"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endParaRPr lang="de-DE" sz="1200" dirty="0"/>
          </a:p>
        </p:txBody>
      </p:sp>
      <p:cxnSp>
        <p:nvCxnSpPr>
          <p:cNvPr id="40" name="Gerade Verbindung mit Pfeil 39"/>
          <p:cNvCxnSpPr/>
          <p:nvPr/>
        </p:nvCxnSpPr>
        <p:spPr>
          <a:xfrm flipV="1">
            <a:off x="7905381" y="4312567"/>
            <a:ext cx="540408" cy="1997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8446329" y="4160569"/>
            <a:ext cx="877163" cy="276999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dirty="0"/>
              <a:t>Output (</a:t>
            </a:r>
            <a:r>
              <a:rPr lang="de-DE" sz="1200" b="1" dirty="0"/>
              <a:t>a</a:t>
            </a:r>
            <a:r>
              <a:rPr lang="de-DE" sz="1200" dirty="0"/>
              <a:t>)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6605502" y="5695548"/>
            <a:ext cx="901209" cy="338554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Neur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Rechteck 45"/>
              <p:cNvSpPr/>
              <p:nvPr/>
            </p:nvSpPr>
            <p:spPr>
              <a:xfrm>
                <a:off x="4084357" y="3077695"/>
                <a:ext cx="54046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6" name="Rechteck 4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84357" y="3077695"/>
                <a:ext cx="540469" cy="369332"/>
              </a:xfrm>
              <a:prstGeom prst="rect">
                <a:avLst/>
              </a:prstGeom>
              <a:blipFill>
                <a:blip r:embed="rId7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echteck 46"/>
              <p:cNvSpPr/>
              <p:nvPr/>
            </p:nvSpPr>
            <p:spPr>
              <a:xfrm>
                <a:off x="4060861" y="3682623"/>
                <a:ext cx="54046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7" name="Rechteck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0861" y="3682623"/>
                <a:ext cx="540469" cy="369332"/>
              </a:xfrm>
              <a:prstGeom prst="rect">
                <a:avLst/>
              </a:prstGeom>
              <a:blipFill>
                <a:blip r:embed="rId8"/>
                <a:stretch>
                  <a:fillRect b="-163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Rechteck 47"/>
              <p:cNvSpPr/>
              <p:nvPr/>
            </p:nvSpPr>
            <p:spPr>
              <a:xfrm>
                <a:off x="4051220" y="4325020"/>
                <a:ext cx="54046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8" name="Rechteck 4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1220" y="4325020"/>
                <a:ext cx="540469" cy="369332"/>
              </a:xfrm>
              <a:prstGeom prst="rect">
                <a:avLst/>
              </a:prstGeom>
              <a:blipFill>
                <a:blip r:embed="rId9"/>
                <a:stretch>
                  <a:fillRect b="-163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Pfeil nach unten 48"/>
          <p:cNvSpPr/>
          <p:nvPr/>
        </p:nvSpPr>
        <p:spPr>
          <a:xfrm rot="10800000" flipV="1">
            <a:off x="6870960" y="3012325"/>
            <a:ext cx="432048" cy="408980"/>
          </a:xfrm>
          <a:prstGeom prst="downArrow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50" name="Pfeil nach unten 49"/>
          <p:cNvSpPr/>
          <p:nvPr/>
        </p:nvSpPr>
        <p:spPr>
          <a:xfrm rot="10800000" flipV="1">
            <a:off x="8573371" y="3009507"/>
            <a:ext cx="432048" cy="408980"/>
          </a:xfrm>
          <a:prstGeom prst="downArrow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pic>
        <p:nvPicPr>
          <p:cNvPr id="51" name="Grafik 5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29043" y="3502978"/>
            <a:ext cx="1834762" cy="145958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45098CE3-71FA-4DA5-A58D-3D02580F4054}"/>
                  </a:ext>
                </a:extLst>
              </p:cNvPr>
              <p:cNvSpPr txBox="1"/>
              <p:nvPr/>
            </p:nvSpPr>
            <p:spPr>
              <a:xfrm>
                <a:off x="6986737" y="4061796"/>
                <a:ext cx="519373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𝜽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𝒛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45098CE3-71FA-4DA5-A58D-3D02580F40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86737" y="4061796"/>
                <a:ext cx="519373" cy="276999"/>
              </a:xfrm>
              <a:prstGeom prst="rect">
                <a:avLst/>
              </a:prstGeom>
              <a:blipFill>
                <a:blip r:embed="rId11"/>
                <a:stretch>
                  <a:fillRect l="-8235" r="-16471" b="-3478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202FD071-6185-4AC4-A948-A6F8D1C091F3}"/>
              </a:ext>
            </a:extLst>
          </p:cNvPr>
          <p:cNvCxnSpPr>
            <a:cxnSpLocks/>
          </p:cNvCxnSpPr>
          <p:nvPr/>
        </p:nvCxnSpPr>
        <p:spPr>
          <a:xfrm>
            <a:off x="6243783" y="4271638"/>
            <a:ext cx="419315" cy="169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6175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Bei Verwendung einer </a:t>
            </a:r>
            <a:r>
              <a:rPr lang="de-DE" dirty="0" err="1"/>
              <a:t>sign</a:t>
            </a:r>
            <a:r>
              <a:rPr lang="de-DE" dirty="0"/>
              <a:t>(x)-Aktivierungsfunktion wird das Neuron auch „</a:t>
            </a:r>
            <a:r>
              <a:rPr lang="de-DE" dirty="0" err="1"/>
              <a:t>Perceptron</a:t>
            </a:r>
            <a:r>
              <a:rPr lang="de-DE" dirty="0"/>
              <a:t>“ genann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3</a:t>
            </a:fld>
            <a:endParaRPr lang="de-DE" alt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b wird auch </a:t>
            </a:r>
            <a:r>
              <a:rPr lang="de-DE" dirty="0" err="1"/>
              <a:t>bias</a:t>
            </a:r>
            <a:r>
              <a:rPr lang="de-DE" dirty="0"/>
              <a:t> genan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platzhalter 21"/>
              <p:cNvSpPr>
                <a:spLocks noGrp="1"/>
              </p:cNvSpPr>
              <p:nvPr>
                <p:ph type="body" sz="quarter" idx="4294967295"/>
              </p:nvPr>
            </p:nvSpPr>
            <p:spPr>
              <a:xfrm>
                <a:off x="527052" y="4570413"/>
                <a:ext cx="7637461" cy="1822450"/>
              </a:xfrm>
            </p:spPr>
            <p:txBody>
              <a:bodyPr/>
              <a:lstStyle/>
              <a:p>
                <a:r>
                  <a:rPr lang="de-DE" dirty="0"/>
                  <a:t>Mathematische Schreibweise der Aktivierungsfunktion </a:t>
                </a:r>
                <a14:m>
                  <m:oMath xmlns:m="http://schemas.openxmlformats.org/officeDocument/2006/math">
                    <m:r>
                      <a:rPr lang="de-DE" b="1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𝜽</m:t>
                    </m:r>
                    <m:r>
                      <a:rPr lang="de-DE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:</a:t>
                </a:r>
              </a:p>
            </p:txBody>
          </p:sp>
        </mc:Choice>
        <mc:Fallback xmlns="">
          <p:sp>
            <p:nvSpPr>
              <p:cNvPr id="22" name="Textplatzhalter 2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4294967295"/>
              </p:nvPr>
            </p:nvSpPr>
            <p:spPr>
              <a:xfrm>
                <a:off x="527052" y="4570413"/>
                <a:ext cx="7637461" cy="1822450"/>
              </a:xfrm>
              <a:blipFill>
                <a:blip r:embed="rId2"/>
                <a:stretch>
                  <a:fillRect l="-80" t="-66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Textfeld 10"/>
          <p:cNvSpPr txBox="1"/>
          <p:nvPr/>
        </p:nvSpPr>
        <p:spPr>
          <a:xfrm>
            <a:off x="2113742" y="1732219"/>
            <a:ext cx="526106" cy="276999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dirty="0"/>
              <a:t>Input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3799403" y="1673887"/>
            <a:ext cx="1152128" cy="646331"/>
          </a:xfrm>
          <a:prstGeom prst="rect">
            <a:avLst/>
          </a:prstGeom>
          <a:ln w="28575"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 dirty="0"/>
              <a:t>Binäre </a:t>
            </a:r>
            <a:br>
              <a:rPr lang="de-DE" sz="1200" dirty="0"/>
            </a:br>
            <a:r>
              <a:rPr lang="de-DE" sz="1200" dirty="0"/>
              <a:t>Verarbeitung des Signal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803048" y="1813819"/>
            <a:ext cx="891591" cy="307777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/>
              <a:t>Ausgab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/>
              <p:cNvSpPr txBox="1"/>
              <p:nvPr/>
            </p:nvSpPr>
            <p:spPr>
              <a:xfrm>
                <a:off x="2113743" y="5104820"/>
                <a:ext cx="2513445" cy="988476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𝑔𝑛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Textfeld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3743" y="5104820"/>
                <a:ext cx="2513445" cy="98847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hteck 16"/>
              <p:cNvSpPr/>
              <p:nvPr/>
            </p:nvSpPr>
            <p:spPr>
              <a:xfrm>
                <a:off x="2841564" y="2298999"/>
                <a:ext cx="51302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7" name="Rechteck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1564" y="2298999"/>
                <a:ext cx="513026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hteck 17"/>
              <p:cNvSpPr/>
              <p:nvPr/>
            </p:nvSpPr>
            <p:spPr>
              <a:xfrm>
                <a:off x="2841565" y="2747439"/>
                <a:ext cx="51834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8" name="Rechteck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1565" y="2747439"/>
                <a:ext cx="518347" cy="369332"/>
              </a:xfrm>
              <a:prstGeom prst="rect">
                <a:avLst/>
              </a:prstGeom>
              <a:blipFill>
                <a:blip r:embed="rId5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hteck 18"/>
              <p:cNvSpPr/>
              <p:nvPr/>
            </p:nvSpPr>
            <p:spPr>
              <a:xfrm>
                <a:off x="2841290" y="3335736"/>
                <a:ext cx="51834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hteck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1290" y="3335736"/>
                <a:ext cx="518347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" name="Grafik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5474" y="1847219"/>
            <a:ext cx="2588629" cy="240872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hteck 24"/>
              <p:cNvSpPr/>
              <p:nvPr/>
            </p:nvSpPr>
            <p:spPr>
              <a:xfrm>
                <a:off x="4768080" y="5182318"/>
                <a:ext cx="3194336" cy="8117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−1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 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</m:t>
                                </m:r>
                                <m:sSup>
                                  <m:sSupPr>
                                    <m:ctrlPr>
                                      <a:rPr lang="de-DE" b="1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de-DE" b="1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𝒘</m:t>
                                    </m:r>
                                  </m:e>
                                  <m:sup>
                                    <m:r>
                                      <m:rPr>
                                        <m:brk m:alnAt="7"/>
                                      </m:rPr>
                                      <a:rPr lang="de-DE" b="1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𝑻</m:t>
                                    </m:r>
                                  </m:sup>
                                </m:sSup>
                                <m:r>
                                  <a:rPr lang="de-DE" b="1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𝒙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&lt;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0 </m:t>
                                </m:r>
                              </m:e>
                            </m:mr>
                            <m:m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  </m:t>
                                </m:r>
                                <m:r>
                                  <m:rPr>
                                    <m:brk m:alnAt="7"/>
                                  </m:rPr>
                                  <a:rPr lang="d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𝑓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</m:t>
                                </m:r>
                                <m:sSup>
                                  <m:sSupPr>
                                    <m:ctrlPr>
                                      <a:rPr lang="de-DE" b="1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de-DE" b="1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𝒘</m:t>
                                    </m:r>
                                  </m:e>
                                  <m:sup>
                                    <m:r>
                                      <m:rPr>
                                        <m:brk m:alnAt="7"/>
                                      </m:rPr>
                                      <a:rPr lang="de-DE" b="1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𝑻</m:t>
                                    </m:r>
                                  </m:sup>
                                </m:sSup>
                                <m:r>
                                  <a:rPr lang="de-DE" b="1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𝒙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&gt;0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25" name="Rechteck 2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68080" y="5182318"/>
                <a:ext cx="3194336" cy="81176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Ellipse 20"/>
          <p:cNvSpPr/>
          <p:nvPr/>
        </p:nvSpPr>
        <p:spPr>
          <a:xfrm>
            <a:off x="3975914" y="2898061"/>
            <a:ext cx="697028" cy="43279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cxnSp>
        <p:nvCxnSpPr>
          <p:cNvPr id="26" name="Gerade Verbindung mit Pfeil 25"/>
          <p:cNvCxnSpPr>
            <a:endCxn id="21" idx="1"/>
          </p:cNvCxnSpPr>
          <p:nvPr/>
        </p:nvCxnSpPr>
        <p:spPr>
          <a:xfrm>
            <a:off x="2631189" y="2199504"/>
            <a:ext cx="1446802" cy="761939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endCxn id="21" idx="2"/>
          </p:cNvCxnSpPr>
          <p:nvPr/>
        </p:nvCxnSpPr>
        <p:spPr>
          <a:xfrm>
            <a:off x="2631190" y="3104277"/>
            <a:ext cx="1344725" cy="1018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endCxn id="21" idx="3"/>
          </p:cNvCxnSpPr>
          <p:nvPr/>
        </p:nvCxnSpPr>
        <p:spPr>
          <a:xfrm flipV="1">
            <a:off x="2631189" y="3267473"/>
            <a:ext cx="1446802" cy="677429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/>
          <p:nvPr/>
        </p:nvCxnSpPr>
        <p:spPr>
          <a:xfrm flipV="1">
            <a:off x="4708154" y="3127188"/>
            <a:ext cx="1027807" cy="78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5817640" y="2948553"/>
            <a:ext cx="933269" cy="338554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dirty="0"/>
              <a:t>a={-1;1}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/>
              <p:cNvSpPr txBox="1"/>
              <p:nvPr/>
            </p:nvSpPr>
            <p:spPr>
              <a:xfrm>
                <a:off x="2224123" y="2020642"/>
                <a:ext cx="371512" cy="2154436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b="0" dirty="0"/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31" name="Textfeld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4123" y="2020642"/>
                <a:ext cx="371512" cy="2154436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Pfeil nach unten 31"/>
          <p:cNvSpPr/>
          <p:nvPr/>
        </p:nvSpPr>
        <p:spPr>
          <a:xfrm>
            <a:off x="4137804" y="2332674"/>
            <a:ext cx="420554" cy="408980"/>
          </a:xfrm>
          <a:prstGeom prst="downArrow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hteck 2"/>
              <p:cNvSpPr/>
              <p:nvPr/>
            </p:nvSpPr>
            <p:spPr>
              <a:xfrm>
                <a:off x="3890175" y="2925525"/>
                <a:ext cx="89050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d>
                        <m:dPr>
                          <m:ctrlPr>
                            <a:rPr lang="de-DE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𝒙</m:t>
                          </m:r>
                          <m:r>
                            <a:rPr lang="de-DE" sz="16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𝒘</m:t>
                          </m:r>
                        </m:e>
                      </m:d>
                    </m:oMath>
                  </m:oMathPara>
                </a14:m>
                <a:endParaRPr lang="de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" name="Rechteck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0175" y="2925525"/>
                <a:ext cx="890500" cy="338554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hteck 33"/>
              <p:cNvSpPr/>
              <p:nvPr/>
            </p:nvSpPr>
            <p:spPr>
              <a:xfrm>
                <a:off x="8031893" y="5226903"/>
                <a:ext cx="2185292" cy="6399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𝑖𝑡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,           </m:t>
                      </m:r>
                      <m:sSub>
                        <m:sSub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34" name="Rechteck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1893" y="5226903"/>
                <a:ext cx="2185292" cy="639983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Gerade Verbindung mit Pfeil 9"/>
          <p:cNvCxnSpPr/>
          <p:nvPr/>
        </p:nvCxnSpPr>
        <p:spPr>
          <a:xfrm>
            <a:off x="9624392" y="4916608"/>
            <a:ext cx="0" cy="27989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9359746" y="4644719"/>
            <a:ext cx="482824" cy="276999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dirty="0"/>
              <a:t>Bias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EE5048C8-66FE-4FA5-8004-CC4B224D06E9}"/>
              </a:ext>
            </a:extLst>
          </p:cNvPr>
          <p:cNvCxnSpPr>
            <a:cxnSpLocks/>
          </p:cNvCxnSpPr>
          <p:nvPr/>
        </p:nvCxnSpPr>
        <p:spPr>
          <a:xfrm flipV="1">
            <a:off x="4345782" y="3356995"/>
            <a:ext cx="0" cy="456257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5FE8DCE3-EA22-4051-AAE2-A9A108B788B0}"/>
              </a:ext>
            </a:extLst>
          </p:cNvPr>
          <p:cNvSpPr txBox="1"/>
          <p:nvPr/>
        </p:nvSpPr>
        <p:spPr>
          <a:xfrm>
            <a:off x="3856359" y="3788017"/>
            <a:ext cx="1095172" cy="276999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 marL="0" indent="0" algn="l">
              <a:spcAft>
                <a:spcPts val="1200"/>
              </a:spcAft>
              <a:buNone/>
            </a:pPr>
            <a:r>
              <a:rPr lang="de-DE" sz="1200" dirty="0"/>
              <a:t>Nettoeingabe</a:t>
            </a:r>
          </a:p>
        </p:txBody>
      </p:sp>
    </p:spTree>
    <p:extLst>
      <p:ext uri="{BB962C8B-B14F-4D97-AF65-F5344CB8AC3E}">
        <p14:creationId xmlns:p14="http://schemas.microsoft.com/office/powerpoint/2010/main" val="3918909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2176" y="3077147"/>
            <a:ext cx="3400425" cy="27051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ine Aktivierungsfunktion transformiert linear oder nichtlinear die Nettoeingabe auf einen resultierenden Wertebereich.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4</a:t>
            </a:fld>
            <a:endParaRPr lang="de-DE" altLang="de-DE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4"/>
          </p:nvPr>
        </p:nvSpPr>
        <p:spPr>
          <a:xfrm>
            <a:off x="6096001" y="6181350"/>
            <a:ext cx="5317784" cy="246772"/>
          </a:xfrm>
        </p:spPr>
        <p:txBody>
          <a:bodyPr/>
          <a:lstStyle/>
          <a:p>
            <a:r>
              <a:rPr lang="de-DE" dirty="0"/>
              <a:t>Grundlegendes Merkmal der Aktivierungsfunktion sollte die Differenzierbarkeit auf dem </a:t>
            </a:r>
            <a:br>
              <a:rPr lang="de-DE" dirty="0"/>
            </a:br>
            <a:r>
              <a:rPr lang="de-DE" dirty="0"/>
              <a:t>Definitionsbereich darstellen.</a:t>
            </a:r>
          </a:p>
          <a:p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917251" y="2465043"/>
            <a:ext cx="526106" cy="276999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dirty="0"/>
              <a:t>Input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2602912" y="2406711"/>
            <a:ext cx="1152128" cy="646331"/>
          </a:xfrm>
          <a:prstGeom prst="rect">
            <a:avLst/>
          </a:prstGeom>
          <a:ln w="28575"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 dirty="0"/>
              <a:t>stetige </a:t>
            </a:r>
            <a:br>
              <a:rPr lang="de-DE" sz="1200" dirty="0"/>
            </a:br>
            <a:r>
              <a:rPr lang="de-DE" sz="1200" dirty="0"/>
              <a:t>Verarbeitung des Signal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hteck 11"/>
              <p:cNvSpPr/>
              <p:nvPr/>
            </p:nvSpPr>
            <p:spPr>
              <a:xfrm>
                <a:off x="1645073" y="3031823"/>
                <a:ext cx="51302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2" name="Rechteck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073" y="3031823"/>
                <a:ext cx="513026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hteck 12"/>
              <p:cNvSpPr/>
              <p:nvPr/>
            </p:nvSpPr>
            <p:spPr>
              <a:xfrm>
                <a:off x="1645074" y="3480263"/>
                <a:ext cx="51834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3" name="Rechteck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074" y="3480263"/>
                <a:ext cx="518347" cy="369332"/>
              </a:xfrm>
              <a:prstGeom prst="rect">
                <a:avLst/>
              </a:prstGeom>
              <a:blipFill>
                <a:blip r:embed="rId4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hteck 13"/>
              <p:cNvSpPr/>
              <p:nvPr/>
            </p:nvSpPr>
            <p:spPr>
              <a:xfrm>
                <a:off x="1644799" y="4068560"/>
                <a:ext cx="51834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hteck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4799" y="4068560"/>
                <a:ext cx="518347" cy="3693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Ellipse 14"/>
          <p:cNvSpPr/>
          <p:nvPr/>
        </p:nvSpPr>
        <p:spPr>
          <a:xfrm>
            <a:off x="2779423" y="3630885"/>
            <a:ext cx="697028" cy="43279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cxnSp>
        <p:nvCxnSpPr>
          <p:cNvPr id="16" name="Gerade Verbindung mit Pfeil 15"/>
          <p:cNvCxnSpPr>
            <a:endCxn id="15" idx="1"/>
          </p:cNvCxnSpPr>
          <p:nvPr/>
        </p:nvCxnSpPr>
        <p:spPr>
          <a:xfrm>
            <a:off x="1434698" y="2932328"/>
            <a:ext cx="1446802" cy="761939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endCxn id="15" idx="2"/>
          </p:cNvCxnSpPr>
          <p:nvPr/>
        </p:nvCxnSpPr>
        <p:spPr>
          <a:xfrm>
            <a:off x="1434699" y="3837101"/>
            <a:ext cx="1344725" cy="1018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endCxn id="15" idx="3"/>
          </p:cNvCxnSpPr>
          <p:nvPr/>
        </p:nvCxnSpPr>
        <p:spPr>
          <a:xfrm flipV="1">
            <a:off x="1434698" y="4000297"/>
            <a:ext cx="1446802" cy="677429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>
          <a:xfrm flipV="1">
            <a:off x="3458300" y="3860012"/>
            <a:ext cx="1027807" cy="78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642610" y="2753466"/>
                <a:ext cx="716928" cy="2154436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de-DE" b="0" dirty="0"/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610" y="2753466"/>
                <a:ext cx="716928" cy="215443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Pfeil nach unten 20"/>
          <p:cNvSpPr/>
          <p:nvPr/>
        </p:nvSpPr>
        <p:spPr>
          <a:xfrm>
            <a:off x="2941313" y="3065498"/>
            <a:ext cx="420554" cy="408980"/>
          </a:xfrm>
          <a:prstGeom prst="downArrow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Rechteck 21"/>
              <p:cNvSpPr/>
              <p:nvPr/>
            </p:nvSpPr>
            <p:spPr>
              <a:xfrm>
                <a:off x="2746072" y="3652435"/>
                <a:ext cx="69557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d>
                        <m:dPr>
                          <m:ctrlP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𝒛</m:t>
                          </m:r>
                        </m:e>
                      </m:d>
                    </m:oMath>
                  </m:oMathPara>
                </a14:m>
                <a:endParaRPr lang="de-DE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" name="Rechteck 2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46072" y="3652435"/>
                <a:ext cx="695575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feld 23"/>
              <p:cNvSpPr txBox="1"/>
              <p:nvPr/>
            </p:nvSpPr>
            <p:spPr>
              <a:xfrm>
                <a:off x="5320452" y="2471674"/>
                <a:ext cx="2315377" cy="621517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𝜃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𝑡𝑎𝑛h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de-DE" sz="1600" b="0" i="0" smtClean="0">
                                  <a:latin typeface="Cambria Math" panose="02040503050406030204" pitchFamily="18" charset="0"/>
                                </a:rPr>
                                <m:t>sinh</m:t>
                              </m:r>
                            </m:fName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</m:func>
                        </m:num>
                        <m:den>
                          <m:func>
                            <m:func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de-DE" sz="1600" b="0" i="0" smtClean="0">
                                  <a:latin typeface="Cambria Math" panose="02040503050406030204" pitchFamily="18" charset="0"/>
                                </a:rPr>
                                <m:t>cosh</m:t>
                              </m:r>
                            </m:fName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</m:func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4" name="Textfeld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20452" y="2471674"/>
                <a:ext cx="2315377" cy="621517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Textfeld 24"/>
          <p:cNvSpPr txBox="1"/>
          <p:nvPr/>
        </p:nvSpPr>
        <p:spPr>
          <a:xfrm>
            <a:off x="7832616" y="5154882"/>
            <a:ext cx="274434" cy="307777"/>
          </a:xfrm>
          <a:prstGeom prst="rect">
            <a:avLst/>
          </a:prstGeom>
          <a:solidFill>
            <a:schemeClr val="bg1"/>
          </a:solidFill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b="1" dirty="0"/>
              <a:t>z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/>
              <p:cNvSpPr txBox="1"/>
              <p:nvPr/>
            </p:nvSpPr>
            <p:spPr>
              <a:xfrm>
                <a:off x="1449519" y="1699408"/>
                <a:ext cx="2637838" cy="440120"/>
              </a:xfrm>
              <a:prstGeom prst="rect">
                <a:avLst/>
              </a:prstGeom>
              <a:ln w="28575"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Nettoeingabe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>
                        <a:latin typeface="Cambria Math" panose="02040503050406030204" pitchFamily="18" charset="0"/>
                      </a:rPr>
                      <m:t>z</m:t>
                    </m:r>
                    <m:r>
                      <a:rPr lang="de-DE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</m:oMath>
                </a14:m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6" name="Textfeld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49519" y="1699408"/>
                <a:ext cx="2637838" cy="440120"/>
              </a:xfrm>
              <a:prstGeom prst="rect">
                <a:avLst/>
              </a:prstGeom>
              <a:blipFill>
                <a:blip r:embed="rId9"/>
                <a:stretch>
                  <a:fillRect l="-694" t="-91667" r="-1852" b="-150000"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7" name="Rechteck 26"/>
              <p:cNvSpPr/>
              <p:nvPr/>
            </p:nvSpPr>
            <p:spPr>
              <a:xfrm>
                <a:off x="4655840" y="1412776"/>
                <a:ext cx="3451210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de-DE" sz="1600" dirty="0"/>
                  <a:t> Aktivierung in der Zwischenschicht</a:t>
                </a:r>
                <a:br>
                  <a:rPr lang="de-DE" sz="1600" dirty="0"/>
                </a:br>
                <a:r>
                  <a:rPr lang="de-DE" sz="1600" dirty="0"/>
                  <a:t>(Layer)</a:t>
                </a:r>
              </a:p>
            </p:txBody>
          </p:sp>
        </mc:Choice>
        <mc:Fallback>
          <p:sp>
            <p:nvSpPr>
              <p:cNvPr id="27" name="Rechteck 2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5840" y="1412776"/>
                <a:ext cx="3451210" cy="830997"/>
              </a:xfrm>
              <a:prstGeom prst="rect">
                <a:avLst/>
              </a:prstGeom>
              <a:blipFill>
                <a:blip r:embed="rId10"/>
                <a:stretch>
                  <a:fillRect t="-2206" b="-882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2" name="Rechteck 31"/>
              <p:cNvSpPr/>
              <p:nvPr/>
            </p:nvSpPr>
            <p:spPr>
              <a:xfrm>
                <a:off x="8276783" y="1412776"/>
                <a:ext cx="3451210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a:rPr lang="de-DE" sz="1600" i="1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de-DE" sz="1600" dirty="0"/>
                  <a:t> Aktivierung des </a:t>
                </a:r>
              </a:p>
              <a:p>
                <a:pPr algn="ctr"/>
                <a:r>
                  <a:rPr lang="de-DE" sz="1600" dirty="0"/>
                  <a:t>Ergebnisschicht</a:t>
                </a:r>
                <a:br>
                  <a:rPr lang="de-DE" sz="1600" dirty="0"/>
                </a:br>
                <a:r>
                  <a:rPr lang="de-DE" sz="1600" dirty="0"/>
                  <a:t>(Output-Layer)</a:t>
                </a:r>
              </a:p>
            </p:txBody>
          </p:sp>
        </mc:Choice>
        <mc:Fallback>
          <p:sp>
            <p:nvSpPr>
              <p:cNvPr id="32" name="Rechteck 3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6783" y="1412776"/>
                <a:ext cx="3451210" cy="830997"/>
              </a:xfrm>
              <a:prstGeom prst="rect">
                <a:avLst/>
              </a:prstGeom>
              <a:blipFill>
                <a:blip r:embed="rId11"/>
                <a:stretch>
                  <a:fillRect t="-2206" b="-882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feld 32"/>
              <p:cNvSpPr txBox="1"/>
              <p:nvPr/>
            </p:nvSpPr>
            <p:spPr>
              <a:xfrm>
                <a:off x="9590801" y="2583710"/>
                <a:ext cx="823174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𝜃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3" name="Textfeld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90801" y="2583710"/>
                <a:ext cx="823174" cy="40011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platzhalter 12"/>
          <p:cNvSpPr>
            <a:spLocks noGrp="1"/>
          </p:cNvSpPr>
          <p:nvPr>
            <p:ph type="body" sz="quarter" idx="4294967295"/>
          </p:nvPr>
        </p:nvSpPr>
        <p:spPr>
          <a:xfrm>
            <a:off x="492966" y="4919326"/>
            <a:ext cx="4588629" cy="4513808"/>
          </a:xfrm>
          <a:prstGeom prst="rect">
            <a:avLst/>
          </a:prstGeom>
        </p:spPr>
        <p:txBody>
          <a:bodyPr/>
          <a:lstStyle/>
          <a:p>
            <a:endParaRPr lang="de-DE" sz="1200" dirty="0"/>
          </a:p>
          <a:p>
            <a:r>
              <a:rPr lang="de-DE" sz="1200" dirty="0"/>
              <a:t>Häufig werden  in Zwischenschichten Funktionen mit Wertebereich 0/1 oder -1/1 angewendet.</a:t>
            </a:r>
          </a:p>
          <a:p>
            <a:r>
              <a:rPr lang="de-DE" sz="1200" dirty="0"/>
              <a:t>Im Rahmen der Regression wird der Output-Layer i.d.R. als Identitätsfunktion abgebildet.</a:t>
            </a:r>
          </a:p>
          <a:p>
            <a:endParaRPr lang="de-DE" sz="1200" dirty="0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94209" y="3053042"/>
            <a:ext cx="3400425" cy="270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4368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5752" y="3055979"/>
            <a:ext cx="1671926" cy="1330047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ie lineare Regression ist ein Spezialfall eines neuronalen Netzes bei Aktivierungsfunktion „Identity“ (linear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5</a:t>
            </a:fld>
            <a:endParaRPr lang="de-DE" alt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48B35E38-B442-4D6C-AEDB-B261EFE0A166}"/>
              </a:ext>
            </a:extLst>
          </p:cNvPr>
          <p:cNvSpPr/>
          <p:nvPr/>
        </p:nvSpPr>
        <p:spPr>
          <a:xfrm>
            <a:off x="2548890" y="2655218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DE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71B3086B-6922-4D01-A515-192DE42ADC96}"/>
              </a:ext>
            </a:extLst>
          </p:cNvPr>
          <p:cNvSpPr/>
          <p:nvPr/>
        </p:nvSpPr>
        <p:spPr>
          <a:xfrm>
            <a:off x="2548890" y="3535963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baseline="-25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6980058-4740-44A4-AA8B-1462E974C328}"/>
              </a:ext>
            </a:extLst>
          </p:cNvPr>
          <p:cNvSpPr/>
          <p:nvPr/>
        </p:nvSpPr>
        <p:spPr>
          <a:xfrm>
            <a:off x="2548890" y="5297452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1400" baseline="-25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endParaRPr lang="de-DE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CAE7F568-002C-4C52-A882-12BC5F8705F8}"/>
              </a:ext>
            </a:extLst>
          </p:cNvPr>
          <p:cNvSpPr/>
          <p:nvPr/>
        </p:nvSpPr>
        <p:spPr>
          <a:xfrm>
            <a:off x="2548890" y="4416708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baseline="-25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7B3D4CB-802E-497A-856F-F2F2694985C2}"/>
              </a:ext>
            </a:extLst>
          </p:cNvPr>
          <p:cNvCxnSpPr>
            <a:stCxn id="9" idx="6"/>
          </p:cNvCxnSpPr>
          <p:nvPr/>
        </p:nvCxnSpPr>
        <p:spPr>
          <a:xfrm>
            <a:off x="3128011" y="2944779"/>
            <a:ext cx="2531517" cy="76390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CF9F08E7-C805-43B3-A94A-3E78F5F7FBAB}"/>
              </a:ext>
            </a:extLst>
          </p:cNvPr>
          <p:cNvCxnSpPr>
            <a:cxnSpLocks/>
            <a:stCxn id="12" idx="6"/>
          </p:cNvCxnSpPr>
          <p:nvPr/>
        </p:nvCxnSpPr>
        <p:spPr>
          <a:xfrm flipV="1">
            <a:off x="3128010" y="3710111"/>
            <a:ext cx="2517934" cy="99615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A059B716-665A-4CA6-9056-74E9240BE726}"/>
              </a:ext>
            </a:extLst>
          </p:cNvPr>
          <p:cNvCxnSpPr>
            <a:cxnSpLocks/>
            <a:stCxn id="11" idx="6"/>
          </p:cNvCxnSpPr>
          <p:nvPr/>
        </p:nvCxnSpPr>
        <p:spPr>
          <a:xfrm flipV="1">
            <a:off x="3128010" y="3707730"/>
            <a:ext cx="2529840" cy="187928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4B80166D-3890-4CFA-9518-DCBC4FDFE3A8}"/>
              </a:ext>
            </a:extLst>
          </p:cNvPr>
          <p:cNvSpPr/>
          <p:nvPr/>
        </p:nvSpPr>
        <p:spPr>
          <a:xfrm>
            <a:off x="5625466" y="3181664"/>
            <a:ext cx="1122045" cy="1134111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prstTxWarp prst="textNoShape">
              <a:avLst/>
            </a:prstTxWarp>
            <a:noAutofit/>
          </a:bodyPr>
          <a:lstStyle/>
          <a:p>
            <a:pPr algn="ctr"/>
            <a:endParaRPr lang="de-DE" sz="6000" b="1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08EBF132-2F15-4ABC-91F3-0E8EC298F5BA}"/>
              </a:ext>
            </a:extLst>
          </p:cNvPr>
          <p:cNvCxnSpPr>
            <a:cxnSpLocks/>
            <a:stCxn id="10" idx="6"/>
          </p:cNvCxnSpPr>
          <p:nvPr/>
        </p:nvCxnSpPr>
        <p:spPr>
          <a:xfrm flipV="1">
            <a:off x="3128010" y="3707730"/>
            <a:ext cx="2517934" cy="11779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EA729EF-2B0B-4A01-B0A5-E16828616E0B}"/>
              </a:ext>
            </a:extLst>
          </p:cNvPr>
          <p:cNvSpPr txBox="1"/>
          <p:nvPr/>
        </p:nvSpPr>
        <p:spPr>
          <a:xfrm>
            <a:off x="3971889" y="2683246"/>
            <a:ext cx="9316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400" dirty="0"/>
              <a:t>Gewicht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8D5CD70-5BCD-48CB-8AF3-FEA540FED672}"/>
              </a:ext>
            </a:extLst>
          </p:cNvPr>
          <p:cNvSpPr txBox="1"/>
          <p:nvPr/>
        </p:nvSpPr>
        <p:spPr>
          <a:xfrm>
            <a:off x="2140210" y="1628800"/>
            <a:ext cx="15488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Eingangssignale/</a:t>
            </a:r>
          </a:p>
          <a:p>
            <a:pPr algn="ctr"/>
            <a:r>
              <a:rPr lang="de-DE" sz="1400" dirty="0"/>
              <a:t>Merkmale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E2E326B-F201-46C0-8C11-D3AC78302C68}"/>
              </a:ext>
            </a:extLst>
          </p:cNvPr>
          <p:cNvSpPr txBox="1"/>
          <p:nvPr/>
        </p:nvSpPr>
        <p:spPr>
          <a:xfrm>
            <a:off x="5748521" y="2204865"/>
            <a:ext cx="9124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Netto-</a:t>
            </a:r>
          </a:p>
          <a:p>
            <a:pPr algn="ctr"/>
            <a:r>
              <a:rPr lang="de-DE" sz="1600" u="sng" dirty="0" err="1">
                <a:latin typeface="Arial" panose="020B0604020202020204" pitchFamily="34" charset="0"/>
                <a:cs typeface="Arial" panose="020B0604020202020204" pitchFamily="34" charset="0"/>
              </a:rPr>
              <a:t>eingabe</a:t>
            </a:r>
            <a:endParaRPr lang="de-DE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0F66288-D938-4BD0-AD3B-4C597872EA95}"/>
              </a:ext>
            </a:extLst>
          </p:cNvPr>
          <p:cNvSpPr txBox="1"/>
          <p:nvPr/>
        </p:nvSpPr>
        <p:spPr>
          <a:xfrm>
            <a:off x="7160521" y="2204865"/>
            <a:ext cx="136928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Aktivierungs-</a:t>
            </a:r>
          </a:p>
          <a:p>
            <a:pPr algn="ctr"/>
            <a:r>
              <a:rPr lang="de-DE" sz="1600" u="sng" dirty="0" err="1">
                <a:latin typeface="Arial" panose="020B0604020202020204" pitchFamily="34" charset="0"/>
                <a:cs typeface="Arial" panose="020B0604020202020204" pitchFamily="34" charset="0"/>
              </a:rPr>
              <a:t>funktion</a:t>
            </a:r>
            <a:endParaRPr lang="de-DE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3872ECB0-46B2-4482-B2D6-AF6A2EF7B205}"/>
                  </a:ext>
                </a:extLst>
              </p:cNvPr>
              <p:cNvSpPr txBox="1"/>
              <p:nvPr/>
            </p:nvSpPr>
            <p:spPr>
              <a:xfrm>
                <a:off x="5670168" y="3340192"/>
                <a:ext cx="1214035" cy="754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𝒛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𝒏</m:t>
                          </m:r>
                        </m:sup>
                        <m:e>
                          <m:sSub>
                            <m:sSubPr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3872ECB0-46B2-4482-B2D6-AF6A2EF7B2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0168" y="3340192"/>
                <a:ext cx="1214035" cy="75488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Ellipse 33">
            <a:extLst>
              <a:ext uri="{FF2B5EF4-FFF2-40B4-BE49-F238E27FC236}">
                <a16:creationId xmlns:a16="http://schemas.microsoft.com/office/drawing/2014/main" id="{F6DCB593-1D68-4065-8482-F6841B1FB100}"/>
              </a:ext>
            </a:extLst>
          </p:cNvPr>
          <p:cNvSpPr/>
          <p:nvPr/>
        </p:nvSpPr>
        <p:spPr>
          <a:xfrm>
            <a:off x="7303518" y="3181664"/>
            <a:ext cx="1122045" cy="1134111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prstTxWarp prst="textNoShape">
              <a:avLst/>
            </a:prstTxWarp>
            <a:noAutofit/>
          </a:bodyPr>
          <a:lstStyle/>
          <a:p>
            <a:pPr algn="ctr"/>
            <a:endParaRPr lang="de-DE" sz="6000" b="1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45098CE3-71FA-4DA5-A58D-3D02580F4054}"/>
                  </a:ext>
                </a:extLst>
              </p:cNvPr>
              <p:cNvSpPr txBox="1"/>
              <p:nvPr/>
            </p:nvSpPr>
            <p:spPr>
              <a:xfrm>
                <a:off x="7697482" y="3546235"/>
                <a:ext cx="519373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𝜽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𝒛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45098CE3-71FA-4DA5-A58D-3D02580F40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7482" y="3546235"/>
                <a:ext cx="519373" cy="276999"/>
              </a:xfrm>
              <a:prstGeom prst="rect">
                <a:avLst/>
              </a:prstGeom>
              <a:blipFill>
                <a:blip r:embed="rId5"/>
                <a:stretch>
                  <a:fillRect l="-9412" t="-2222" r="-16471" b="-3777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202FD071-6185-4AC4-A948-A6F8D1C091F3}"/>
              </a:ext>
            </a:extLst>
          </p:cNvPr>
          <p:cNvCxnSpPr>
            <a:cxnSpLocks/>
          </p:cNvCxnSpPr>
          <p:nvPr/>
        </p:nvCxnSpPr>
        <p:spPr>
          <a:xfrm>
            <a:off x="6918330" y="3717634"/>
            <a:ext cx="419315" cy="169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53832560-81CB-4921-A65D-BC2BD870DD4C}"/>
              </a:ext>
            </a:extLst>
          </p:cNvPr>
          <p:cNvSpPr txBox="1"/>
          <p:nvPr/>
        </p:nvSpPr>
        <p:spPr>
          <a:xfrm>
            <a:off x="2723675" y="4834538"/>
            <a:ext cx="234360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l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2" name="Rechteck 21"/>
          <p:cNvSpPr/>
          <p:nvPr/>
        </p:nvSpPr>
        <p:spPr>
          <a:xfrm>
            <a:off x="5760698" y="1356048"/>
            <a:ext cx="914400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41" name="Rechteck 40"/>
          <p:cNvSpPr/>
          <p:nvPr/>
        </p:nvSpPr>
        <p:spPr>
          <a:xfrm>
            <a:off x="5375276" y="3370991"/>
            <a:ext cx="3601045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42" name="Abgerundetes Rechteck 41"/>
          <p:cNvSpPr/>
          <p:nvPr/>
        </p:nvSpPr>
        <p:spPr>
          <a:xfrm>
            <a:off x="5486756" y="2975517"/>
            <a:ext cx="4487797" cy="1422441"/>
          </a:xfrm>
          <a:prstGeom prst="roundRect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5642883" y="2921917"/>
            <a:ext cx="65" cy="184666"/>
          </a:xfrm>
          <a:prstGeom prst="rect">
            <a:avLst/>
          </a:prstGeom>
          <a:ln w="28575"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feld 47"/>
              <p:cNvSpPr txBox="1"/>
              <p:nvPr/>
            </p:nvSpPr>
            <p:spPr>
              <a:xfrm>
                <a:off x="4218737" y="3027985"/>
                <a:ext cx="710836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de-DE" sz="16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1" i="1"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48" name="Textfeld 4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3027985"/>
                <a:ext cx="710836" cy="4001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3" name="Textfeld 52"/>
              <p:cNvSpPr txBox="1"/>
              <p:nvPr/>
            </p:nvSpPr>
            <p:spPr>
              <a:xfrm>
                <a:off x="4218737" y="3453349"/>
                <a:ext cx="317908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53" name="Textfeld 5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3453349"/>
                <a:ext cx="317908" cy="40011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feld 54"/>
              <p:cNvSpPr txBox="1"/>
              <p:nvPr/>
            </p:nvSpPr>
            <p:spPr>
              <a:xfrm>
                <a:off x="4218737" y="3878713"/>
                <a:ext cx="317908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55" name="Textfeld 5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3878713"/>
                <a:ext cx="317908" cy="40011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feld 57"/>
              <p:cNvSpPr txBox="1"/>
              <p:nvPr/>
            </p:nvSpPr>
            <p:spPr>
              <a:xfrm>
                <a:off x="4218737" y="4317957"/>
                <a:ext cx="365998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𝒎</m:t>
                          </m:r>
                        </m:sub>
                      </m:sSub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58" name="Textfeld 5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4317957"/>
                <a:ext cx="365998" cy="40011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Rechteck 58"/>
              <p:cNvSpPr/>
              <p:nvPr/>
            </p:nvSpPr>
            <p:spPr>
              <a:xfrm>
                <a:off x="4800646" y="5022490"/>
                <a:ext cx="6525056" cy="10831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𝜽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𝒘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de-DE" sz="2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de-DE" sz="2000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𝜽</m:t>
                      </m:r>
                      <m:d>
                        <m:dPr>
                          <m:ctrlPr>
                            <a:rPr lang="de-DE" sz="2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de-DE" sz="20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de-DE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</m:nary>
                        </m:e>
                      </m:d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de-DE" sz="20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de-DE" sz="20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…+</m:t>
                      </m:r>
                      <m:sSub>
                        <m:sSubPr>
                          <m:ctrlP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  <m:sSub>
                        <m:sSubPr>
                          <m:ctrlP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</m:oMath>
                  </m:oMathPara>
                </a14:m>
                <a:endParaRPr lang="de-DE" sz="2000" dirty="0"/>
              </a:p>
            </p:txBody>
          </p:sp>
        </mc:Choice>
        <mc:Fallback xmlns="">
          <p:sp>
            <p:nvSpPr>
              <p:cNvPr id="59" name="Rechteck 5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0646" y="5022490"/>
                <a:ext cx="6525056" cy="108318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0" name="Geschweifte Klammer rechts 59"/>
          <p:cNvSpPr/>
          <p:nvPr/>
        </p:nvSpPr>
        <p:spPr>
          <a:xfrm rot="16200000">
            <a:off x="9410521" y="3667142"/>
            <a:ext cx="332170" cy="2880223"/>
          </a:xfrm>
          <a:prstGeom prst="rightBrac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5991611" y="4536501"/>
            <a:ext cx="1168910" cy="307777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b="1" dirty="0"/>
              <a:t>Aktivierung</a:t>
            </a:r>
          </a:p>
        </p:txBody>
      </p:sp>
      <p:sp>
        <p:nvSpPr>
          <p:cNvPr id="62" name="Geschweifte Klammer rechts 61"/>
          <p:cNvSpPr/>
          <p:nvPr/>
        </p:nvSpPr>
        <p:spPr>
          <a:xfrm rot="16200000">
            <a:off x="6525811" y="4946667"/>
            <a:ext cx="216024" cy="321171"/>
          </a:xfrm>
          <a:prstGeom prst="rightBrac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Textfeld 62"/>
          <p:cNvSpPr txBox="1"/>
          <p:nvPr/>
        </p:nvSpPr>
        <p:spPr>
          <a:xfrm>
            <a:off x="8289998" y="4529504"/>
            <a:ext cx="2321469" cy="523220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b="1" dirty="0"/>
              <a:t>Lineare Aktivierung =</a:t>
            </a:r>
            <a:br>
              <a:rPr lang="de-DE" sz="1400" b="1" dirty="0"/>
            </a:br>
            <a:r>
              <a:rPr lang="de-DE" sz="1400" b="1" dirty="0"/>
              <a:t>Multi-Lineare Regression</a:t>
            </a:r>
          </a:p>
        </p:txBody>
      </p:sp>
      <p:cxnSp>
        <p:nvCxnSpPr>
          <p:cNvPr id="64" name="Gerade Verbindung mit Pfeil 63"/>
          <p:cNvCxnSpPr/>
          <p:nvPr/>
        </p:nvCxnSpPr>
        <p:spPr>
          <a:xfrm flipV="1">
            <a:off x="8579928" y="3758563"/>
            <a:ext cx="540408" cy="1997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/>
          <p:cNvSpPr txBox="1"/>
          <p:nvPr/>
        </p:nvSpPr>
        <p:spPr>
          <a:xfrm>
            <a:off x="9120876" y="3606565"/>
            <a:ext cx="877163" cy="276999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dirty="0"/>
              <a:t>Output (</a:t>
            </a:r>
            <a:r>
              <a:rPr lang="de-DE" sz="1200" b="1" dirty="0"/>
              <a:t>a</a:t>
            </a:r>
            <a:r>
              <a:rPr lang="de-DE" sz="1200" dirty="0"/>
              <a:t>)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7280049" y="1694217"/>
            <a:ext cx="901209" cy="338554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Neuron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0F66288-D938-4BD0-AD3B-4C597872EA95}"/>
              </a:ext>
            </a:extLst>
          </p:cNvPr>
          <p:cNvSpPr txBox="1"/>
          <p:nvPr/>
        </p:nvSpPr>
        <p:spPr>
          <a:xfrm>
            <a:off x="9104932" y="2327975"/>
            <a:ext cx="8018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23754519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ie Gewichte eines künstlichen neuronalen Netzes (KNN) stellen die Freiheitsgrade zum Erlernen von Zusammenhän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6</a:t>
            </a:fld>
            <a:endParaRPr lang="de-DE" alt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Rechteck 21"/>
          <p:cNvSpPr/>
          <p:nvPr/>
        </p:nvSpPr>
        <p:spPr>
          <a:xfrm>
            <a:off x="5760698" y="1356048"/>
            <a:ext cx="914400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platzhalter 12"/>
              <p:cNvSpPr txBox="1">
                <a:spLocks/>
              </p:cNvSpPr>
              <p:nvPr/>
            </p:nvSpPr>
            <p:spPr>
              <a:xfrm>
                <a:off x="6167810" y="1878260"/>
                <a:ext cx="5245974" cy="4513808"/>
              </a:xfrm>
              <a:prstGeom prst="rect">
                <a:avLst/>
              </a:prstGeom>
            </p:spPr>
            <p:txBody>
              <a:bodyPr/>
              <a:lstStyle>
                <a:lvl1pPr marL="214313" indent="-214313" algn="l" rtl="0" eaLnBrk="1" fontAlgn="base" hangingPunct="1">
                  <a:spcBef>
                    <a:spcPct val="20000"/>
                  </a:spcBef>
                  <a:spcAft>
                    <a:spcPts val="450"/>
                  </a:spcAft>
                  <a:buClr>
                    <a:srgbClr val="00B1AC"/>
                  </a:buClr>
                  <a:buFont typeface="Wingdings" pitchFamily="2" charset="2"/>
                  <a:buChar char="n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57213" indent="-214313" algn="l" rtl="0" eaLnBrk="1" fontAlgn="base" hangingPunct="1">
                  <a:spcBef>
                    <a:spcPct val="20000"/>
                  </a:spcBef>
                  <a:spcAft>
                    <a:spcPts val="450"/>
                  </a:spcAft>
                  <a:buClr>
                    <a:srgbClr val="7F7F7F"/>
                  </a:buClr>
                  <a:buFont typeface="Wingdings" pitchFamily="2" charset="2"/>
                  <a:buChar char="n"/>
                  <a:defRPr sz="10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14388" indent="-128588" algn="l" rtl="0" eaLnBrk="1" fontAlgn="base" hangingPunct="1">
                  <a:spcBef>
                    <a:spcPct val="20000"/>
                  </a:spcBef>
                  <a:spcAft>
                    <a:spcPts val="450"/>
                  </a:spcAft>
                  <a:buClr>
                    <a:srgbClr val="7F7F7F"/>
                  </a:buClr>
                  <a:buFont typeface="Wingdings" pitchFamily="2" charset="2"/>
                  <a:buChar char="n"/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57288" indent="-128588" algn="l" rtl="0" eaLnBrk="1" fontAlgn="base" hangingPunct="1">
                  <a:spcBef>
                    <a:spcPct val="20000"/>
                  </a:spcBef>
                  <a:spcAft>
                    <a:spcPts val="450"/>
                  </a:spcAft>
                  <a:buClr>
                    <a:srgbClr val="7F7F7F"/>
                  </a:buClr>
                  <a:buFont typeface="Wingdings" pitchFamily="2" charset="2"/>
                  <a:buChar char="n"/>
                  <a:defRPr sz="82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00188" indent="-128588" algn="l" rtl="0" eaLnBrk="1" fontAlgn="base" hangingPunct="1">
                  <a:spcBef>
                    <a:spcPct val="20000"/>
                  </a:spcBef>
                  <a:spcAft>
                    <a:spcPts val="450"/>
                  </a:spcAft>
                  <a:buClr>
                    <a:srgbClr val="7F7F7F"/>
                  </a:buClr>
                  <a:buFont typeface="Wingdings" pitchFamily="2" charset="2"/>
                  <a:buChar char="n"/>
                  <a:defRPr sz="82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de-DE" sz="1400" b="1" u="sng" dirty="0">
                    <a:latin typeface="Arial" panose="020B0604020202020204" pitchFamily="34" charset="0"/>
                    <a:cs typeface="Arial" panose="020B0604020202020204" pitchFamily="34" charset="0"/>
                  </a:rPr>
                  <a:t>Gewicht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1" i="1" u="sng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1" i="1" u="sng" dirty="0">
                            <a:latin typeface="Cambria Math" panose="02040503050406030204" pitchFamily="18" charset="0"/>
                          </a:rPr>
                          <m:t>𝒘</m:t>
                        </m:r>
                      </m:e>
                      <m:sub>
                        <m:r>
                          <a:rPr lang="de-DE" sz="1400" b="1" i="1" u="sng" dirty="0">
                            <a:latin typeface="Cambria Math" panose="02040503050406030204" pitchFamily="18" charset="0"/>
                          </a:rPr>
                          <m:t>𝒊</m:t>
                        </m:r>
                      </m:sub>
                    </m:sSub>
                  </m:oMath>
                </a14:m>
                <a:endParaRPr lang="de-DE" sz="1400" b="1" u="sng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Jeder Verbindung im KNN ist eine reelle Zahl als Gewicht zugeordnet</a:t>
                </a:r>
              </a:p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Das Gewicht beschreibt die </a:t>
                </a:r>
                <a:r>
                  <a:rPr lang="de-DE" sz="1400" u="sng" dirty="0">
                    <a:latin typeface="Arial" panose="020B0604020202020204" pitchFamily="34" charset="0"/>
                    <a:cs typeface="Arial" panose="020B0604020202020204" pitchFamily="34" charset="0"/>
                  </a:rPr>
                  <a:t>Stärke</a:t>
                </a:r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der Verbindung</a:t>
                </a:r>
              </a:p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Die Gewichte werden trainiert, um den „gewünschten“ Output zu reproduzieren</a:t>
                </a:r>
              </a:p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Ergo: In Verbindungsgewichten ist „</a:t>
                </a:r>
                <a:r>
                  <a:rPr lang="de-DE" sz="1400" u="sng" dirty="0">
                    <a:latin typeface="Arial" panose="020B0604020202020204" pitchFamily="34" charset="0"/>
                    <a:cs typeface="Arial" panose="020B0604020202020204" pitchFamily="34" charset="0"/>
                  </a:rPr>
                  <a:t>Wissen</a:t>
                </a:r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“ des KNN gespeichert</a:t>
                </a:r>
              </a:p>
              <a:p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de-DE" sz="1400" b="1" u="sng" dirty="0">
                    <a:latin typeface="Arial" panose="020B0604020202020204" pitchFamily="34" charset="0"/>
                    <a:cs typeface="Arial" panose="020B0604020202020204" pitchFamily="34" charset="0"/>
                  </a:rPr>
                  <a:t>Aktivierungsfunktion</a:t>
                </a:r>
                <a:endParaRPr lang="de-DE" sz="1400" u="sng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bestimmt die Ausgabe a der Schicht.</a:t>
                </a:r>
              </a:p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Die Ausgabe a kann Eingangssignal einer weiteren Schicht (mehrschichtige KNN) sein oder den Output festlegen.</a:t>
                </a:r>
              </a:p>
            </p:txBody>
          </p:sp>
        </mc:Choice>
        <mc:Fallback xmlns="">
          <p:sp>
            <p:nvSpPr>
              <p:cNvPr id="45" name="Textplatzhalter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67810" y="1878260"/>
                <a:ext cx="5245974" cy="4513808"/>
              </a:xfrm>
              <a:prstGeom prst="rect">
                <a:avLst/>
              </a:prstGeom>
              <a:blipFill>
                <a:blip r:embed="rId2"/>
                <a:stretch>
                  <a:fillRect l="-349" t="-270" r="-5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052" y="2060848"/>
            <a:ext cx="5319733" cy="288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7878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35FC5BD-E434-40D2-8A3F-811904B055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188FA6-98AE-4182-8F87-C402A020843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944164-11C5-4D82-B9FF-767BF33FA44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9E0848-1EB8-4B63-83A6-16E49FD5C3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7</a:t>
            </a:fld>
            <a:endParaRPr lang="de-DE" alt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FEBE8-2EDF-47DF-BBD4-1B24238F75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C4DCCC-17D0-41ED-BA33-A95907EC11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FA0D494-58B5-4163-9249-D02FCF3E5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3055809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Aufbau eines Neurons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neuronalen Netzes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09CFA46-983B-4E98-B22A-846CB1070E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3055809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Grundsätzliche Begrifflichkeiten und Notationen</a:t>
            </a:r>
            <a:endParaRPr lang="en-GB" sz="1400" dirty="0">
              <a:latin typeface="Arial 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BF0D63D-1EC6-4797-B44C-33F2F0B2B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3054237"/>
            <a:ext cx="669313" cy="524172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1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7ACCB92-C326-40C9-9BD8-BDD4EB28D3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3698038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dirty="0" err="1"/>
              <a:t>Gradientenabstiegs</a:t>
            </a:r>
            <a:r>
              <a:rPr lang="de-DE" altLang="de-DE" sz="1400" dirty="0"/>
              <a:t>-Verfahr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B6A8C30-BA96-4119-86B3-540C55AAE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3698038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Motivation des Verfahrens und nachvollziehen der „Mathematik“</a:t>
            </a:r>
            <a:endParaRPr lang="en-GB" sz="1400" dirty="0">
              <a:latin typeface="Arial 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1D0149-C70A-4A51-B3C1-A61DA4B17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3698038"/>
            <a:ext cx="669313" cy="522599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2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B472079-B7B9-4185-8F76-B4E34ABDB1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4340267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führung in </a:t>
            </a:r>
            <a:r>
              <a:rPr lang="de-DE" sz="1400" dirty="0" err="1">
                <a:latin typeface="Arial "/>
              </a:rPr>
              <a:t>Tensorflow</a:t>
            </a:r>
            <a:r>
              <a:rPr lang="de-DE" sz="1400" dirty="0">
                <a:latin typeface="Arial "/>
              </a:rPr>
              <a:t> und Keras</a:t>
            </a:r>
            <a:endParaRPr lang="en-GB" sz="1400" dirty="0">
              <a:latin typeface="Arial 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65BE198-034B-416E-82F1-C14F29A42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4340267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Verstehen der API </a:t>
            </a:r>
            <a:r>
              <a:rPr lang="de-DE" sz="1400" dirty="0" err="1">
                <a:latin typeface="Arial "/>
              </a:rPr>
              <a:t>Sequential</a:t>
            </a:r>
            <a:r>
              <a:rPr lang="de-DE" sz="1400" dirty="0">
                <a:latin typeface="Arial "/>
              </a:rPr>
              <a:t>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Einsatz des </a:t>
            </a:r>
            <a:r>
              <a:rPr lang="de-DE" sz="1400" dirty="0" err="1">
                <a:latin typeface="Arial "/>
              </a:rPr>
              <a:t>Dense</a:t>
            </a:r>
            <a:r>
              <a:rPr lang="de-DE" sz="1400" dirty="0">
                <a:latin typeface="Arial "/>
              </a:rPr>
              <a:t> Layer</a:t>
            </a:r>
            <a:endParaRPr lang="en-GB" sz="1400" dirty="0">
              <a:latin typeface="Arial 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163A116-2091-4D5A-84AD-93787C783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4327674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3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F21A2C-735D-472B-B9AF-5B96B6950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4986465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satz Feed </a:t>
            </a:r>
            <a:r>
              <a:rPr lang="de-DE" sz="1400" dirty="0" err="1">
                <a:latin typeface="Arial "/>
              </a:rPr>
              <a:t>Forwardnetze</a:t>
            </a:r>
            <a:r>
              <a:rPr lang="de-DE" sz="1400" dirty="0">
                <a:latin typeface="Arial "/>
              </a:rPr>
              <a:t> zur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Modellierung der Windeinspeisung</a:t>
            </a:r>
            <a:endParaRPr lang="en-GB" sz="1400" dirty="0">
              <a:latin typeface="Arial 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F0A3870-1094-4B34-AF89-AFCB35C9D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4986465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Relevante Features und Netzarchitektur für die Fragestellung</a:t>
            </a:r>
            <a:endParaRPr lang="en-GB" sz="1400" dirty="0">
              <a:latin typeface="Arial 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8A88D0B-140C-47B8-A8E8-4878754B6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4973872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1071374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ine kleine Veränderung der Gewichte wird durch die Aktivierungsfunktion in eine Veränderung des Outputs gewandelt. 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8</a:t>
            </a:fld>
            <a:endParaRPr lang="de-DE" alt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B9A2652-6C55-4C9A-96F8-6BA7E9DAE0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08" t="64787"/>
          <a:stretch/>
        </p:blipFill>
        <p:spPr>
          <a:xfrm>
            <a:off x="7256101" y="3302071"/>
            <a:ext cx="1340002" cy="968123"/>
          </a:xfrm>
          <a:prstGeom prst="rect">
            <a:avLst/>
          </a:prstGeom>
        </p:spPr>
      </p:pic>
      <p:sp>
        <p:nvSpPr>
          <p:cNvPr id="17" name="Ellipse 16">
            <a:extLst>
              <a:ext uri="{FF2B5EF4-FFF2-40B4-BE49-F238E27FC236}">
                <a16:creationId xmlns:a16="http://schemas.microsoft.com/office/drawing/2014/main" id="{48B35E38-B442-4D6C-AEDB-B261EFE0A166}"/>
              </a:ext>
            </a:extLst>
          </p:cNvPr>
          <p:cNvSpPr/>
          <p:nvPr/>
        </p:nvSpPr>
        <p:spPr>
          <a:xfrm>
            <a:off x="2548890" y="2705101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DE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71B3086B-6922-4D01-A515-192DE42ADC96}"/>
              </a:ext>
            </a:extLst>
          </p:cNvPr>
          <p:cNvSpPr/>
          <p:nvPr/>
        </p:nvSpPr>
        <p:spPr>
          <a:xfrm>
            <a:off x="2548890" y="3585846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baseline="-25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36980058-4740-44A4-AA8B-1462E974C328}"/>
              </a:ext>
            </a:extLst>
          </p:cNvPr>
          <p:cNvSpPr/>
          <p:nvPr/>
        </p:nvSpPr>
        <p:spPr>
          <a:xfrm>
            <a:off x="2548890" y="5347335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1400" baseline="-25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endParaRPr lang="de-DE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CAE7F568-002C-4C52-A882-12BC5F8705F8}"/>
              </a:ext>
            </a:extLst>
          </p:cNvPr>
          <p:cNvSpPr/>
          <p:nvPr/>
        </p:nvSpPr>
        <p:spPr>
          <a:xfrm>
            <a:off x="2548890" y="4466591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baseline="-25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7B3D4CB-802E-497A-856F-F2F2694985C2}"/>
              </a:ext>
            </a:extLst>
          </p:cNvPr>
          <p:cNvCxnSpPr>
            <a:cxnSpLocks/>
            <a:stCxn id="17" idx="6"/>
            <a:endCxn id="24" idx="2"/>
          </p:cNvCxnSpPr>
          <p:nvPr/>
        </p:nvCxnSpPr>
        <p:spPr>
          <a:xfrm>
            <a:off x="3128010" y="2994661"/>
            <a:ext cx="2497456" cy="75405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CF9F08E7-C805-43B3-A94A-3E78F5F7FBAB}"/>
              </a:ext>
            </a:extLst>
          </p:cNvPr>
          <p:cNvCxnSpPr>
            <a:cxnSpLocks/>
            <a:stCxn id="20" idx="6"/>
            <a:endCxn id="24" idx="2"/>
          </p:cNvCxnSpPr>
          <p:nvPr/>
        </p:nvCxnSpPr>
        <p:spPr>
          <a:xfrm flipV="1">
            <a:off x="3128011" y="3748719"/>
            <a:ext cx="2497455" cy="100743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A059B716-665A-4CA6-9056-74E9240BE726}"/>
              </a:ext>
            </a:extLst>
          </p:cNvPr>
          <p:cNvCxnSpPr>
            <a:cxnSpLocks/>
            <a:stCxn id="19" idx="6"/>
            <a:endCxn id="24" idx="2"/>
          </p:cNvCxnSpPr>
          <p:nvPr/>
        </p:nvCxnSpPr>
        <p:spPr>
          <a:xfrm flipV="1">
            <a:off x="3128010" y="3748720"/>
            <a:ext cx="2497456" cy="188817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>
            <a:extLst>
              <a:ext uri="{FF2B5EF4-FFF2-40B4-BE49-F238E27FC236}">
                <a16:creationId xmlns:a16="http://schemas.microsoft.com/office/drawing/2014/main" id="{4B80166D-3890-4CFA-9518-DCBC4FDFE3A8}"/>
              </a:ext>
            </a:extLst>
          </p:cNvPr>
          <p:cNvSpPr/>
          <p:nvPr/>
        </p:nvSpPr>
        <p:spPr>
          <a:xfrm>
            <a:off x="5625466" y="3181664"/>
            <a:ext cx="1122045" cy="1134111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prstTxWarp prst="textNoShape">
              <a:avLst/>
            </a:prstTxWarp>
            <a:noAutofit/>
          </a:bodyPr>
          <a:lstStyle/>
          <a:p>
            <a:pPr algn="ctr"/>
            <a:endParaRPr lang="de-DE" sz="6000" b="1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08EBF132-2F15-4ABC-91F3-0E8EC298F5BA}"/>
              </a:ext>
            </a:extLst>
          </p:cNvPr>
          <p:cNvCxnSpPr>
            <a:cxnSpLocks/>
            <a:stCxn id="18" idx="6"/>
            <a:endCxn id="24" idx="2"/>
          </p:cNvCxnSpPr>
          <p:nvPr/>
        </p:nvCxnSpPr>
        <p:spPr>
          <a:xfrm flipV="1">
            <a:off x="3128011" y="3748720"/>
            <a:ext cx="2497455" cy="12668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6EA729EF-2B0B-4A01-B0A5-E16828616E0B}"/>
              </a:ext>
            </a:extLst>
          </p:cNvPr>
          <p:cNvSpPr txBox="1"/>
          <p:nvPr/>
        </p:nvSpPr>
        <p:spPr>
          <a:xfrm>
            <a:off x="3971889" y="2733129"/>
            <a:ext cx="9316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400" dirty="0"/>
              <a:t>Gewicht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8D5CD70-5BCD-48CB-8AF3-FEA540FED672}"/>
              </a:ext>
            </a:extLst>
          </p:cNvPr>
          <p:cNvSpPr txBox="1"/>
          <p:nvPr/>
        </p:nvSpPr>
        <p:spPr>
          <a:xfrm>
            <a:off x="2140210" y="1678683"/>
            <a:ext cx="15488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Eingangssignale/</a:t>
            </a:r>
          </a:p>
          <a:p>
            <a:pPr algn="ctr"/>
            <a:r>
              <a:rPr lang="de-DE" sz="1400" dirty="0"/>
              <a:t>Merkmal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E2E326B-F201-46C0-8C11-D3AC78302C68}"/>
              </a:ext>
            </a:extLst>
          </p:cNvPr>
          <p:cNvSpPr txBox="1"/>
          <p:nvPr/>
        </p:nvSpPr>
        <p:spPr>
          <a:xfrm>
            <a:off x="5748521" y="2204865"/>
            <a:ext cx="9124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Netto-</a:t>
            </a:r>
          </a:p>
          <a:p>
            <a:pPr algn="l"/>
            <a:r>
              <a:rPr lang="de-DE" sz="1600" u="sng" dirty="0" err="1">
                <a:latin typeface="Arial" panose="020B0604020202020204" pitchFamily="34" charset="0"/>
                <a:cs typeface="Arial" panose="020B0604020202020204" pitchFamily="34" charset="0"/>
              </a:rPr>
              <a:t>eingabe</a:t>
            </a:r>
            <a:endParaRPr lang="de-DE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50F66288-D938-4BD0-AD3B-4C597872EA95}"/>
              </a:ext>
            </a:extLst>
          </p:cNvPr>
          <p:cNvSpPr txBox="1"/>
          <p:nvPr/>
        </p:nvSpPr>
        <p:spPr>
          <a:xfrm>
            <a:off x="7160521" y="2204865"/>
            <a:ext cx="136928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Aktivierungs-</a:t>
            </a:r>
          </a:p>
          <a:p>
            <a:pPr algn="ctr"/>
            <a:r>
              <a:rPr lang="de-DE" sz="1600" u="sng" dirty="0" err="1">
                <a:latin typeface="Arial" panose="020B0604020202020204" pitchFamily="34" charset="0"/>
                <a:cs typeface="Arial" panose="020B0604020202020204" pitchFamily="34" charset="0"/>
              </a:rPr>
              <a:t>funktion</a:t>
            </a:r>
            <a:endParaRPr lang="de-DE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3872ECB0-46B2-4482-B2D6-AF6A2EF7B205}"/>
                  </a:ext>
                </a:extLst>
              </p:cNvPr>
              <p:cNvSpPr txBox="1"/>
              <p:nvPr/>
            </p:nvSpPr>
            <p:spPr>
              <a:xfrm>
                <a:off x="5706944" y="3340336"/>
                <a:ext cx="1234185" cy="754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𝒛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𝒏</m:t>
                          </m:r>
                        </m:sup>
                        <m:e>
                          <m:sSub>
                            <m:sSubPr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3872ECB0-46B2-4482-B2D6-AF6A2EF7B2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06944" y="3340336"/>
                <a:ext cx="1234185" cy="75488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Ellipse 30">
            <a:extLst>
              <a:ext uri="{FF2B5EF4-FFF2-40B4-BE49-F238E27FC236}">
                <a16:creationId xmlns:a16="http://schemas.microsoft.com/office/drawing/2014/main" id="{F6DCB593-1D68-4065-8482-F6841B1FB100}"/>
              </a:ext>
            </a:extLst>
          </p:cNvPr>
          <p:cNvSpPr/>
          <p:nvPr/>
        </p:nvSpPr>
        <p:spPr>
          <a:xfrm>
            <a:off x="7303518" y="3181664"/>
            <a:ext cx="1122045" cy="1134111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prstTxWarp prst="textNoShape">
              <a:avLst/>
            </a:prstTxWarp>
            <a:noAutofit/>
          </a:bodyPr>
          <a:lstStyle/>
          <a:p>
            <a:pPr algn="ctr"/>
            <a:endParaRPr lang="de-DE" sz="6000" b="1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45098CE3-71FA-4DA5-A58D-3D02580F4054}"/>
                  </a:ext>
                </a:extLst>
              </p:cNvPr>
              <p:cNvSpPr txBox="1"/>
              <p:nvPr/>
            </p:nvSpPr>
            <p:spPr>
              <a:xfrm>
                <a:off x="7543801" y="3586922"/>
                <a:ext cx="519373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𝜽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𝒛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45098CE3-71FA-4DA5-A58D-3D02580F40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43801" y="3586922"/>
                <a:ext cx="519373" cy="276999"/>
              </a:xfrm>
              <a:prstGeom prst="rect">
                <a:avLst/>
              </a:prstGeom>
              <a:blipFill>
                <a:blip r:embed="rId4"/>
                <a:stretch>
                  <a:fillRect l="-9412" r="-15294" b="-3478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Textfeld 34">
            <a:extLst>
              <a:ext uri="{FF2B5EF4-FFF2-40B4-BE49-F238E27FC236}">
                <a16:creationId xmlns:a16="http://schemas.microsoft.com/office/drawing/2014/main" id="{53832560-81CB-4921-A65D-BC2BD870DD4C}"/>
              </a:ext>
            </a:extLst>
          </p:cNvPr>
          <p:cNvSpPr txBox="1"/>
          <p:nvPr/>
        </p:nvSpPr>
        <p:spPr>
          <a:xfrm>
            <a:off x="2723675" y="4884421"/>
            <a:ext cx="234360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l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5642883" y="2971800"/>
            <a:ext cx="65" cy="184666"/>
          </a:xfrm>
          <a:prstGeom prst="rect">
            <a:avLst/>
          </a:prstGeom>
          <a:ln w="28575"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/>
              <p:cNvSpPr txBox="1"/>
              <p:nvPr/>
            </p:nvSpPr>
            <p:spPr>
              <a:xfrm>
                <a:off x="4218737" y="3077868"/>
                <a:ext cx="710836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de-DE" sz="16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1" i="1"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38" name="Textfeld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3077868"/>
                <a:ext cx="710836" cy="400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/>
              <p:cNvSpPr txBox="1"/>
              <p:nvPr/>
            </p:nvSpPr>
            <p:spPr>
              <a:xfrm>
                <a:off x="4218737" y="3503232"/>
                <a:ext cx="317908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39" name="Textfeld 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3503232"/>
                <a:ext cx="317908" cy="4001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feld 39"/>
              <p:cNvSpPr txBox="1"/>
              <p:nvPr/>
            </p:nvSpPr>
            <p:spPr>
              <a:xfrm>
                <a:off x="4218737" y="3928596"/>
                <a:ext cx="317908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40" name="Textfeld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3928596"/>
                <a:ext cx="317908" cy="40011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feld 40"/>
              <p:cNvSpPr txBox="1"/>
              <p:nvPr/>
            </p:nvSpPr>
            <p:spPr>
              <a:xfrm>
                <a:off x="4218737" y="4367840"/>
                <a:ext cx="365998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𝒎</m:t>
                          </m:r>
                        </m:sub>
                      </m:sSub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41" name="Textfeld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4367840"/>
                <a:ext cx="365998" cy="40011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2" name="Gerade Verbindung mit Pfeil 41"/>
          <p:cNvCxnSpPr/>
          <p:nvPr/>
        </p:nvCxnSpPr>
        <p:spPr>
          <a:xfrm flipV="1">
            <a:off x="8579928" y="3758563"/>
            <a:ext cx="540408" cy="1997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feld 42"/>
              <p:cNvSpPr txBox="1"/>
              <p:nvPr/>
            </p:nvSpPr>
            <p:spPr>
              <a:xfrm>
                <a:off x="9120337" y="3598926"/>
                <a:ext cx="736099" cy="276999"/>
              </a:xfrm>
              <a:prstGeom prst="rect">
                <a:avLst/>
              </a:prstGeom>
              <a:ln w="28575"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 xmlns:m="http://schemas.openxmlformats.org/officeDocument/2006/math">
                    <m:r>
                      <a:rPr lang="de-DE" sz="1200" b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𝐎𝐮𝐭𝐩𝐮𝐭</m:t>
                    </m:r>
                  </m:oMath>
                </a14:m>
                <a:r>
                  <a:rPr lang="de-DE" sz="1200" b="1" dirty="0"/>
                  <a:t> </a:t>
                </a:r>
              </a:p>
            </p:txBody>
          </p:sp>
        </mc:Choice>
        <mc:Fallback xmlns="">
          <p:sp>
            <p:nvSpPr>
              <p:cNvPr id="43" name="Textfeld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20337" y="3598926"/>
                <a:ext cx="736099" cy="276999"/>
              </a:xfrm>
              <a:prstGeom prst="rect">
                <a:avLst/>
              </a:prstGeom>
              <a:blipFill>
                <a:blip r:embed="rId9"/>
                <a:stretch>
                  <a:fillRect b="-4348"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4" name="Textfeld 43"/>
          <p:cNvSpPr txBox="1"/>
          <p:nvPr/>
        </p:nvSpPr>
        <p:spPr>
          <a:xfrm>
            <a:off x="6581324" y="1705895"/>
            <a:ext cx="901209" cy="338554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Neuron</a:t>
            </a:r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2184" y="4519295"/>
            <a:ext cx="2376066" cy="153853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5" name="Rechteck 44"/>
              <p:cNvSpPr/>
              <p:nvPr/>
            </p:nvSpPr>
            <p:spPr>
              <a:xfrm>
                <a:off x="4254054" y="5258455"/>
                <a:ext cx="3328155" cy="523220"/>
              </a:xfrm>
              <a:prstGeom prst="rect">
                <a:avLst/>
              </a:prstGeom>
              <a:ln w="28575">
                <a:solidFill>
                  <a:srgbClr val="FF0000"/>
                </a:solidFill>
              </a:ln>
            </p:spPr>
            <p:txBody>
              <a:bodyPr wrap="none" anchor="b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𝒘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∆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𝒘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𝒐𝒖𝒕𝒑𝒖𝒕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∆</m:t>
                      </m:r>
                      <m:r>
                        <a:rPr lang="de-DE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𝑶𝒖𝒕𝒑𝒖𝒕</m:t>
                      </m:r>
                    </m:oMath>
                  </m:oMathPara>
                </a14:m>
                <a:endParaRPr lang="de-DE" b="1" dirty="0"/>
              </a:p>
            </p:txBody>
          </p:sp>
        </mc:Choice>
        <mc:Fallback xmlns="">
          <p:sp>
            <p:nvSpPr>
              <p:cNvPr id="45" name="Rechteck 4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4054" y="5258455"/>
                <a:ext cx="3328155" cy="52322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 w="28575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8" name="Gerade Verbindung mit Pfeil 47"/>
          <p:cNvCxnSpPr/>
          <p:nvPr/>
        </p:nvCxnSpPr>
        <p:spPr>
          <a:xfrm flipV="1">
            <a:off x="7968208" y="6092310"/>
            <a:ext cx="2088232" cy="987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/>
          <p:nvPr/>
        </p:nvCxnSpPr>
        <p:spPr>
          <a:xfrm>
            <a:off x="10084337" y="4689679"/>
            <a:ext cx="0" cy="1126937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Abgerundetes Rechteck 46"/>
          <p:cNvSpPr/>
          <p:nvPr/>
        </p:nvSpPr>
        <p:spPr>
          <a:xfrm>
            <a:off x="5486756" y="2975517"/>
            <a:ext cx="4487797" cy="1422441"/>
          </a:xfrm>
          <a:prstGeom prst="roundRect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182A398-E3EC-49CD-AC22-0B2AC3A96F88}"/>
              </a:ext>
            </a:extLst>
          </p:cNvPr>
          <p:cNvSpPr txBox="1"/>
          <p:nvPr/>
        </p:nvSpPr>
        <p:spPr>
          <a:xfrm>
            <a:off x="4205721" y="4976148"/>
            <a:ext cx="926857" cy="276999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 marL="0" indent="0" algn="l">
              <a:spcAft>
                <a:spcPts val="1200"/>
              </a:spcAft>
              <a:buNone/>
            </a:pPr>
            <a:r>
              <a:rPr lang="de-DE" sz="1200" dirty="0"/>
              <a:t>Annahme: </a:t>
            </a:r>
          </a:p>
        </p:txBody>
      </p:sp>
    </p:spTree>
    <p:extLst>
      <p:ext uri="{BB962C8B-B14F-4D97-AF65-F5344CB8AC3E}">
        <p14:creationId xmlns:p14="http://schemas.microsoft.com/office/powerpoint/2010/main" val="20126202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rafik 38">
            <a:extLst>
              <a:ext uri="{FF2B5EF4-FFF2-40B4-BE49-F238E27FC236}">
                <a16:creationId xmlns:a16="http://schemas.microsoft.com/office/drawing/2014/main" id="{AB9A2652-6C55-4C9A-96F8-6BA7E9DAE0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08" t="64787"/>
          <a:stretch/>
        </p:blipFill>
        <p:spPr>
          <a:xfrm>
            <a:off x="7206597" y="4393501"/>
            <a:ext cx="1340002" cy="968123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ine Verlustfunktion dient dazu die „Güte“ des neuronale Netzes zu messen und anhand dieser eine Aktualisierung der Gewichte vorzunehm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9</a:t>
            </a:fld>
            <a:endParaRPr lang="de-DE" alt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platzhalter 15"/>
              <p:cNvSpPr>
                <a:spLocks noGrp="1"/>
              </p:cNvSpPr>
              <p:nvPr>
                <p:ph type="body" sz="quarter" idx="24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L = MSE = Mean </a:t>
                </a:r>
                <a:r>
                  <a:rPr lang="de-DE" dirty="0" err="1"/>
                  <a:t>Squared</a:t>
                </a:r>
                <a:r>
                  <a:rPr lang="de-DE" dirty="0"/>
                  <a:t> Error</a:t>
                </a:r>
              </a:p>
            </p:txBody>
          </p:sp>
        </mc:Choice>
        <mc:Fallback>
          <p:sp>
            <p:nvSpPr>
              <p:cNvPr id="16" name="Textplatzhalter 1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4"/>
              </p:nvPr>
            </p:nvSpPr>
            <p:spPr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Ellipse 8">
            <a:extLst>
              <a:ext uri="{FF2B5EF4-FFF2-40B4-BE49-F238E27FC236}">
                <a16:creationId xmlns:a16="http://schemas.microsoft.com/office/drawing/2014/main" id="{48B35E38-B442-4D6C-AEDB-B261EFE0A166}"/>
              </a:ext>
            </a:extLst>
          </p:cNvPr>
          <p:cNvSpPr/>
          <p:nvPr/>
        </p:nvSpPr>
        <p:spPr>
          <a:xfrm>
            <a:off x="2548890" y="3808046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de-DE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71B3086B-6922-4D01-A515-192DE42ADC96}"/>
              </a:ext>
            </a:extLst>
          </p:cNvPr>
          <p:cNvSpPr/>
          <p:nvPr/>
        </p:nvSpPr>
        <p:spPr>
          <a:xfrm>
            <a:off x="2548890" y="4688791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baseline="-25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CAE7F568-002C-4C52-A882-12BC5F8705F8}"/>
              </a:ext>
            </a:extLst>
          </p:cNvPr>
          <p:cNvSpPr/>
          <p:nvPr/>
        </p:nvSpPr>
        <p:spPr>
          <a:xfrm>
            <a:off x="2548890" y="5569536"/>
            <a:ext cx="579120" cy="57912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baseline="-25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7B3D4CB-802E-497A-856F-F2F2694985C2}"/>
              </a:ext>
            </a:extLst>
          </p:cNvPr>
          <p:cNvCxnSpPr>
            <a:stCxn id="9" idx="6"/>
          </p:cNvCxnSpPr>
          <p:nvPr/>
        </p:nvCxnSpPr>
        <p:spPr>
          <a:xfrm>
            <a:off x="3128011" y="4097607"/>
            <a:ext cx="2531517" cy="76390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CF9F08E7-C805-43B3-A94A-3E78F5F7FBAB}"/>
              </a:ext>
            </a:extLst>
          </p:cNvPr>
          <p:cNvCxnSpPr>
            <a:cxnSpLocks/>
            <a:stCxn id="12" idx="6"/>
          </p:cNvCxnSpPr>
          <p:nvPr/>
        </p:nvCxnSpPr>
        <p:spPr>
          <a:xfrm flipV="1">
            <a:off x="3128011" y="4851664"/>
            <a:ext cx="2497455" cy="100743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08EBF132-2F15-4ABC-91F3-0E8EC298F5BA}"/>
              </a:ext>
            </a:extLst>
          </p:cNvPr>
          <p:cNvCxnSpPr>
            <a:cxnSpLocks/>
            <a:stCxn id="10" idx="6"/>
          </p:cNvCxnSpPr>
          <p:nvPr/>
        </p:nvCxnSpPr>
        <p:spPr>
          <a:xfrm flipV="1">
            <a:off x="3128011" y="4851665"/>
            <a:ext cx="2497455" cy="12668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EA729EF-2B0B-4A01-B0A5-E16828616E0B}"/>
              </a:ext>
            </a:extLst>
          </p:cNvPr>
          <p:cNvSpPr txBox="1"/>
          <p:nvPr/>
        </p:nvSpPr>
        <p:spPr>
          <a:xfrm>
            <a:off x="3910905" y="3918945"/>
            <a:ext cx="9316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400" dirty="0"/>
              <a:t>Gewicht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8D5CD70-5BCD-48CB-8AF3-FEA540FED672}"/>
              </a:ext>
            </a:extLst>
          </p:cNvPr>
          <p:cNvSpPr txBox="1"/>
          <p:nvPr/>
        </p:nvSpPr>
        <p:spPr>
          <a:xfrm>
            <a:off x="1949201" y="3134791"/>
            <a:ext cx="15488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Eingangssignale/</a:t>
            </a:r>
          </a:p>
          <a:p>
            <a:pPr algn="ctr"/>
            <a:r>
              <a:rPr lang="de-DE" sz="1400" dirty="0"/>
              <a:t>Merkmale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E2E326B-F201-46C0-8C11-D3AC78302C68}"/>
              </a:ext>
            </a:extLst>
          </p:cNvPr>
          <p:cNvSpPr txBox="1"/>
          <p:nvPr/>
        </p:nvSpPr>
        <p:spPr>
          <a:xfrm>
            <a:off x="5748521" y="3708321"/>
            <a:ext cx="9124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Netto-</a:t>
            </a:r>
          </a:p>
          <a:p>
            <a:pPr algn="l"/>
            <a:r>
              <a:rPr lang="de-DE" sz="1600" u="sng" dirty="0" err="1">
                <a:latin typeface="Arial" panose="020B0604020202020204" pitchFamily="34" charset="0"/>
                <a:cs typeface="Arial" panose="020B0604020202020204" pitchFamily="34" charset="0"/>
              </a:rPr>
              <a:t>eingabe</a:t>
            </a:r>
            <a:endParaRPr lang="de-DE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0F66288-D938-4BD0-AD3B-4C597872EA95}"/>
              </a:ext>
            </a:extLst>
          </p:cNvPr>
          <p:cNvSpPr txBox="1"/>
          <p:nvPr/>
        </p:nvSpPr>
        <p:spPr>
          <a:xfrm>
            <a:off x="7160521" y="3708321"/>
            <a:ext cx="136928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Aktivierungs-</a:t>
            </a:r>
          </a:p>
          <a:p>
            <a:pPr algn="ctr"/>
            <a:r>
              <a:rPr lang="de-DE" sz="1600" u="sng" dirty="0" err="1">
                <a:latin typeface="Arial" panose="020B0604020202020204" pitchFamily="34" charset="0"/>
                <a:cs typeface="Arial" panose="020B0604020202020204" pitchFamily="34" charset="0"/>
              </a:rPr>
              <a:t>funktion</a:t>
            </a:r>
            <a:endParaRPr lang="de-DE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5760698" y="1356048"/>
            <a:ext cx="914400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41" name="Rechteck 40"/>
          <p:cNvSpPr/>
          <p:nvPr/>
        </p:nvSpPr>
        <p:spPr>
          <a:xfrm>
            <a:off x="5375276" y="4473936"/>
            <a:ext cx="3601045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42" name="Abgerundetes Rechteck 41"/>
          <p:cNvSpPr/>
          <p:nvPr/>
        </p:nvSpPr>
        <p:spPr>
          <a:xfrm>
            <a:off x="5447928" y="4365104"/>
            <a:ext cx="3132000" cy="936000"/>
          </a:xfrm>
          <a:prstGeom prst="roundRect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5642883" y="4074745"/>
            <a:ext cx="65" cy="184666"/>
          </a:xfrm>
          <a:prstGeom prst="rect">
            <a:avLst/>
          </a:prstGeom>
          <a:ln w="28575"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feld 47"/>
              <p:cNvSpPr txBox="1"/>
              <p:nvPr/>
            </p:nvSpPr>
            <p:spPr>
              <a:xfrm>
                <a:off x="4218737" y="4180813"/>
                <a:ext cx="710836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de-DE" sz="16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1" i="1">
                          <a:latin typeface="Cambria Math" panose="02040503050406030204" pitchFamily="18" charset="0"/>
                        </a:rPr>
                        <m:t>𝒃</m:t>
                      </m:r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48" name="Textfeld 4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4180813"/>
                <a:ext cx="710836" cy="40011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3" name="Textfeld 52"/>
              <p:cNvSpPr txBox="1"/>
              <p:nvPr/>
            </p:nvSpPr>
            <p:spPr>
              <a:xfrm>
                <a:off x="4218737" y="4606177"/>
                <a:ext cx="317908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53" name="Textfeld 5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737" y="4606177"/>
                <a:ext cx="317908" cy="400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feld 57"/>
              <p:cNvSpPr txBox="1"/>
              <p:nvPr/>
            </p:nvSpPr>
            <p:spPr>
              <a:xfrm>
                <a:off x="4164273" y="5059783"/>
                <a:ext cx="365998" cy="400110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𝒎</m:t>
                          </m:r>
                        </m:sub>
                      </m:sSub>
                    </m:oMath>
                  </m:oMathPara>
                </a14:m>
                <a:endParaRPr lang="de-DE" sz="1600" b="1" dirty="0"/>
              </a:p>
            </p:txBody>
          </p:sp>
        </mc:Choice>
        <mc:Fallback xmlns="">
          <p:sp>
            <p:nvSpPr>
              <p:cNvPr id="58" name="Textfeld 5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64273" y="5059783"/>
                <a:ext cx="365998" cy="4001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Textfeld 48"/>
          <p:cNvSpPr txBox="1"/>
          <p:nvPr/>
        </p:nvSpPr>
        <p:spPr>
          <a:xfrm>
            <a:off x="9120876" y="4709510"/>
            <a:ext cx="769763" cy="307777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b="1" dirty="0"/>
              <a:t>Output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F23A748-DBFB-45DD-9D50-8B56BCA2484F}"/>
              </a:ext>
            </a:extLst>
          </p:cNvPr>
          <p:cNvSpPr/>
          <p:nvPr/>
        </p:nvSpPr>
        <p:spPr>
          <a:xfrm>
            <a:off x="7013928" y="2132499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Nach oben gebogener Pfeil 12"/>
          <p:cNvSpPr/>
          <p:nvPr/>
        </p:nvSpPr>
        <p:spPr>
          <a:xfrm rot="10800000">
            <a:off x="4232447" y="2528107"/>
            <a:ext cx="648072" cy="1192471"/>
          </a:xfrm>
          <a:prstGeom prst="bentUpArrow">
            <a:avLst/>
          </a:prstGeom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Rechteck 14"/>
              <p:cNvSpPr/>
              <p:nvPr/>
            </p:nvSpPr>
            <p:spPr>
              <a:xfrm>
                <a:off x="5094612" y="2158368"/>
                <a:ext cx="3051605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b="0" i="0" smtClean="0">
                          <a:latin typeface="Cambria Math" panose="02040503050406030204" pitchFamily="18" charset="0"/>
                        </a:rPr>
                        <m:t>L</m:t>
                      </m:r>
                      <m:r>
                        <a:rPr lang="de-DE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0,5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 b="0" i="0" smtClean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n</m:t>
                          </m:r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∙</m:t>
                      </m:r>
                      <m:nary>
                        <m:naryPr>
                          <m:chr m:val="∑"/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b="1" i="1" smtClean="0">
                                          <a:solidFill>
                                            <a:srgbClr val="0070C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b="1" i="1">
                                          <a:solidFill>
                                            <a:srgbClr val="0070C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𝒚</m:t>
                                      </m:r>
                                    </m:e>
                                    <m:sub>
                                      <m:r>
                                        <a:rPr lang="de-DE" b="1" i="1">
                                          <a:solidFill>
                                            <a:srgbClr val="0070C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𝒊</m:t>
                                      </m:r>
                                    </m:sub>
                                  </m:s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de-DE" b="1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𝜽</m:t>
                                  </m:r>
                                  <m:d>
                                    <m:dPr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b="1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𝒘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sSub>
                                        <m:sSubPr>
                                          <m:ctrlP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de-DE" b="1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𝒙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15" name="Rechteck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94612" y="2158368"/>
                <a:ext cx="3051605" cy="84856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0" name="Nach oben gebogener Pfeil 49"/>
          <p:cNvSpPr/>
          <p:nvPr/>
        </p:nvSpPr>
        <p:spPr>
          <a:xfrm rot="16200000">
            <a:off x="8039483" y="2702981"/>
            <a:ext cx="1896201" cy="1188000"/>
          </a:xfrm>
          <a:prstGeom prst="bentUpArrow">
            <a:avLst>
              <a:gd name="adj1" fmla="val 15550"/>
              <a:gd name="adj2" fmla="val 18815"/>
              <a:gd name="adj3" fmla="val 25000"/>
            </a:avLst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5050787" y="1807777"/>
            <a:ext cx="4070089" cy="307777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b="1" dirty="0"/>
              <a:t>Mögliche Definition der Verlustfunktion (MSE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Rechteck 37"/>
              <p:cNvSpPr/>
              <p:nvPr/>
            </p:nvSpPr>
            <p:spPr>
              <a:xfrm>
                <a:off x="5447928" y="5584280"/>
                <a:ext cx="3328155" cy="523220"/>
              </a:xfrm>
              <a:prstGeom prst="rect">
                <a:avLst/>
              </a:prstGeom>
              <a:ln w="28575">
                <a:solidFill>
                  <a:srgbClr val="FF0000"/>
                </a:solidFill>
              </a:ln>
            </p:spPr>
            <p:txBody>
              <a:bodyPr wrap="none" anchor="ctr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𝒘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∆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𝒘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𝒐𝒖𝒕𝒑𝒖𝒕</m:t>
                      </m:r>
                      <m:r>
                        <a:rPr lang="de-DE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∆</m:t>
                      </m:r>
                      <m:r>
                        <a:rPr lang="de-DE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𝑶𝒖𝒕𝒑𝒖𝒕</m:t>
                      </m:r>
                    </m:oMath>
                  </m:oMathPara>
                </a14:m>
                <a:endParaRPr lang="de-DE" b="1" dirty="0"/>
              </a:p>
            </p:txBody>
          </p:sp>
        </mc:Choice>
        <mc:Fallback xmlns="">
          <p:sp>
            <p:nvSpPr>
              <p:cNvPr id="38" name="Rechteck 3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47928" y="5584280"/>
                <a:ext cx="3328155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28575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Ellipse 39">
            <a:extLst>
              <a:ext uri="{FF2B5EF4-FFF2-40B4-BE49-F238E27FC236}">
                <a16:creationId xmlns:a16="http://schemas.microsoft.com/office/drawing/2014/main" id="{4B80166D-3890-4CFA-9518-DCBC4FDFE3A8}"/>
              </a:ext>
            </a:extLst>
          </p:cNvPr>
          <p:cNvSpPr/>
          <p:nvPr/>
        </p:nvSpPr>
        <p:spPr>
          <a:xfrm>
            <a:off x="5575962" y="4293096"/>
            <a:ext cx="1122045" cy="1134111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prstTxWarp prst="textNoShape">
              <a:avLst/>
            </a:prstTxWarp>
            <a:noAutofit/>
          </a:bodyPr>
          <a:lstStyle/>
          <a:p>
            <a:pPr algn="ctr"/>
            <a:endParaRPr lang="de-DE" sz="6000" b="1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3872ECB0-46B2-4482-B2D6-AF6A2EF7B205}"/>
                  </a:ext>
                </a:extLst>
              </p:cNvPr>
              <p:cNvSpPr txBox="1"/>
              <p:nvPr/>
            </p:nvSpPr>
            <p:spPr>
              <a:xfrm>
                <a:off x="5657440" y="4437112"/>
                <a:ext cx="1234185" cy="754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𝒛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𝒏</m:t>
                          </m:r>
                        </m:sup>
                        <m:e>
                          <m:sSub>
                            <m:sSubPr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</m:e>
                            <m:sub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de-DE" b="1" i="1" smtClean="0"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3872ECB0-46B2-4482-B2D6-AF6A2EF7B2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57440" y="4437112"/>
                <a:ext cx="1234185" cy="754887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5" name="Ellipse 44">
            <a:extLst>
              <a:ext uri="{FF2B5EF4-FFF2-40B4-BE49-F238E27FC236}">
                <a16:creationId xmlns:a16="http://schemas.microsoft.com/office/drawing/2014/main" id="{F6DCB593-1D68-4065-8482-F6841B1FB100}"/>
              </a:ext>
            </a:extLst>
          </p:cNvPr>
          <p:cNvSpPr/>
          <p:nvPr/>
        </p:nvSpPr>
        <p:spPr>
          <a:xfrm>
            <a:off x="7254014" y="4273094"/>
            <a:ext cx="1122045" cy="1134111"/>
          </a:xfrm>
          <a:prstGeom prst="ellipse">
            <a:avLst/>
          </a:prstGeom>
          <a:ln>
            <a:noFill/>
          </a:ln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prstTxWarp prst="textNoShape">
              <a:avLst/>
            </a:prstTxWarp>
            <a:noAutofit/>
          </a:bodyPr>
          <a:lstStyle/>
          <a:p>
            <a:pPr algn="ctr"/>
            <a:endParaRPr lang="de-DE" sz="6000" b="1" baseline="-25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45098CE3-71FA-4DA5-A58D-3D02580F4054}"/>
                  </a:ext>
                </a:extLst>
              </p:cNvPr>
              <p:cNvSpPr txBox="1"/>
              <p:nvPr/>
            </p:nvSpPr>
            <p:spPr>
              <a:xfrm>
                <a:off x="7494297" y="4678352"/>
                <a:ext cx="519373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𝜽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𝒛</m:t>
                      </m:r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45098CE3-71FA-4DA5-A58D-3D02580F40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4297" y="4678352"/>
                <a:ext cx="519373" cy="276999"/>
              </a:xfrm>
              <a:prstGeom prst="rect">
                <a:avLst/>
              </a:prstGeom>
              <a:blipFill>
                <a:blip r:embed="rId10"/>
                <a:stretch>
                  <a:fillRect l="-8140" r="-15116" b="-3478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 descr="Zahnräder">
            <a:extLst>
              <a:ext uri="{FF2B5EF4-FFF2-40B4-BE49-F238E27FC236}">
                <a16:creationId xmlns:a16="http://schemas.microsoft.com/office/drawing/2014/main" id="{ED4CFB9C-A4DF-4B98-95CF-F13F516BCB5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69356" y="2803515"/>
            <a:ext cx="914400" cy="914400"/>
          </a:xfrm>
          <a:prstGeom prst="rect">
            <a:avLst/>
          </a:prstGeom>
        </p:spPr>
      </p:pic>
      <p:pic>
        <p:nvPicPr>
          <p:cNvPr id="18" name="Grafik 17" descr="Fragezeichen">
            <a:extLst>
              <a:ext uri="{FF2B5EF4-FFF2-40B4-BE49-F238E27FC236}">
                <a16:creationId xmlns:a16="http://schemas.microsoft.com/office/drawing/2014/main" id="{62E6A4E1-204B-4D19-ADF4-CB424A2B170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79982" y="16010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559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u="sng" dirty="0"/>
              <a:t>WICHTIG: </a:t>
            </a:r>
            <a:r>
              <a:rPr lang="de-DE" dirty="0"/>
              <a:t>Rückfragen zur Case Study werden nach dem 05.07.2022 bis zur finalen Abgabe nicht mehr beantwortet!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</a:t>
            </a:fld>
            <a:endParaRPr lang="de-DE" alt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Pfeil nach unten 13"/>
          <p:cNvSpPr/>
          <p:nvPr/>
        </p:nvSpPr>
        <p:spPr>
          <a:xfrm>
            <a:off x="8125970" y="2303929"/>
            <a:ext cx="634326" cy="2484000"/>
          </a:xfrm>
          <a:prstGeom prst="down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15" name="Pfeil nach unten 14"/>
          <p:cNvSpPr/>
          <p:nvPr/>
        </p:nvSpPr>
        <p:spPr>
          <a:xfrm>
            <a:off x="9145449" y="5009179"/>
            <a:ext cx="624196" cy="1004013"/>
          </a:xfrm>
          <a:prstGeom prst="down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20" name="Textfeld 19"/>
          <p:cNvSpPr txBox="1"/>
          <p:nvPr/>
        </p:nvSpPr>
        <p:spPr>
          <a:xfrm>
            <a:off x="7958190" y="1547699"/>
            <a:ext cx="1011815" cy="461665"/>
          </a:xfrm>
          <a:prstGeom prst="rect">
            <a:avLst/>
          </a:prstGeom>
          <a:solidFill>
            <a:schemeClr val="bg1"/>
          </a:solidFill>
          <a:ln w="28575"/>
        </p:spPr>
        <p:txBody>
          <a:bodyPr wrap="non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 dirty="0"/>
              <a:t>Benchmark-</a:t>
            </a:r>
            <a:br>
              <a:rPr lang="de-DE" sz="1200" dirty="0"/>
            </a:br>
            <a:r>
              <a:rPr lang="de-DE" sz="1200" dirty="0" err="1"/>
              <a:t>modell</a:t>
            </a:r>
            <a:endParaRPr lang="de-DE" sz="1200" dirty="0"/>
          </a:p>
        </p:txBody>
      </p:sp>
      <p:sp>
        <p:nvSpPr>
          <p:cNvPr id="21" name="Textfeld 20"/>
          <p:cNvSpPr txBox="1"/>
          <p:nvPr/>
        </p:nvSpPr>
        <p:spPr>
          <a:xfrm>
            <a:off x="8918406" y="4379356"/>
            <a:ext cx="1080296" cy="461665"/>
          </a:xfrm>
          <a:prstGeom prst="rect">
            <a:avLst/>
          </a:prstGeom>
          <a:solidFill>
            <a:schemeClr val="bg1"/>
          </a:solidFill>
          <a:ln w="28575"/>
        </p:spPr>
        <p:txBody>
          <a:bodyPr wrap="non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 dirty="0"/>
              <a:t>Vertiefendes </a:t>
            </a:r>
            <a:br>
              <a:rPr lang="de-DE" sz="1200" dirty="0"/>
            </a:br>
            <a:r>
              <a:rPr lang="de-DE" sz="1200" dirty="0"/>
              <a:t>Modell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9203610" y="2833059"/>
            <a:ext cx="2281394" cy="1138773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marL="0" indent="0" algn="ctr">
              <a:spcAft>
                <a:spcPts val="1200"/>
              </a:spcAft>
              <a:buNone/>
            </a:pPr>
            <a:r>
              <a:rPr lang="de-DE" sz="1600" dirty="0" err="1"/>
              <a:t>Zeitslot</a:t>
            </a:r>
            <a:r>
              <a:rPr lang="de-DE" sz="1600" dirty="0"/>
              <a:t> der </a:t>
            </a:r>
          </a:p>
          <a:p>
            <a:pPr marL="0" indent="0" algn="ctr">
              <a:spcAft>
                <a:spcPts val="1200"/>
              </a:spcAft>
              <a:buNone/>
            </a:pPr>
            <a:r>
              <a:rPr lang="de-DE" sz="1600" dirty="0"/>
              <a:t>Synchronveranstaltung</a:t>
            </a:r>
          </a:p>
          <a:p>
            <a:pPr marL="0" indent="0" algn="ctr">
              <a:spcAft>
                <a:spcPts val="1200"/>
              </a:spcAft>
              <a:buNone/>
            </a:pPr>
            <a:r>
              <a:rPr lang="de-DE" sz="1600" dirty="0"/>
              <a:t>14:15 – 17:30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FB13D59-0E93-41A5-8B01-8F141CD689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2521848"/>
              </p:ext>
            </p:extLst>
          </p:nvPr>
        </p:nvGraphicFramePr>
        <p:xfrm>
          <a:off x="598942" y="1628800"/>
          <a:ext cx="6649186" cy="4384395"/>
        </p:xfrm>
        <a:graphic>
          <a:graphicData uri="http://schemas.openxmlformats.org/drawingml/2006/table">
            <a:tbl>
              <a:tblPr/>
              <a:tblGrid>
                <a:gridCol w="1065087">
                  <a:extLst>
                    <a:ext uri="{9D8B030D-6E8A-4147-A177-3AD203B41FA5}">
                      <a16:colId xmlns:a16="http://schemas.microsoft.com/office/drawing/2014/main" val="1921338074"/>
                    </a:ext>
                  </a:extLst>
                </a:gridCol>
                <a:gridCol w="836854">
                  <a:extLst>
                    <a:ext uri="{9D8B030D-6E8A-4147-A177-3AD203B41FA5}">
                      <a16:colId xmlns:a16="http://schemas.microsoft.com/office/drawing/2014/main" val="3154312079"/>
                    </a:ext>
                  </a:extLst>
                </a:gridCol>
                <a:gridCol w="4747245">
                  <a:extLst>
                    <a:ext uri="{9D8B030D-6E8A-4147-A177-3AD203B41FA5}">
                      <a16:colId xmlns:a16="http://schemas.microsoft.com/office/drawing/2014/main" val="240863928"/>
                    </a:ext>
                  </a:extLst>
                </a:gridCol>
              </a:tblGrid>
              <a:tr h="228751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</a:rPr>
                        <a:t>V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C908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</a:rPr>
                        <a:t>Termi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C908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200" b="1" i="0" u="none" strike="noStrike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</a:rPr>
                        <a:t>Inhal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C90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4820195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inführung Lineare Regressio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505253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4.04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neare Regression und und Modellauswahl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801752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4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chtlineare Regression (Spline und Kernel Regression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3353191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04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tenreduktionstechniken (PCA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594230"/>
                  </a:ext>
                </a:extLst>
              </a:tr>
              <a:tr h="427002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4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inführung in Keras, </a:t>
                      </a:r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nsorflow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b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</a:t>
                      </a:r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quential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Model + </a:t>
                      </a:r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nse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Layer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902364"/>
                  </a:ext>
                </a:extLst>
              </a:tr>
              <a:tr h="427002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05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ed Forward-Netze + Rücksprache Case Study</a:t>
                      </a:r>
                      <a:b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Windeinspeisung Modellierung der Windeinspeisung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359677"/>
                  </a:ext>
                </a:extLst>
              </a:tr>
              <a:tr h="427002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9.05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yperparameter</a:t>
                      </a:r>
                      <a:b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Einführung in Keras Tuner und </a:t>
                      </a:r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nsorboard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08902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05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kurrente Netze: LSTM Regressio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9819153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05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kurrente Netze: LSTM CNN Regressio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5816650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5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rbeiten an Case Study </a:t>
                      </a:r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chmarkmodell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705397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6.06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mporal Fusion Transformer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8324161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06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inführung in Klassifizierung mit KN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858721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6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wendung: Non Intrusive Load Managemen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998313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6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wendung: </a:t>
                      </a:r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dictive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intanance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5534537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8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ückfragen Case Study Teil B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6980670"/>
                  </a:ext>
                </a:extLst>
              </a:tr>
              <a:tr h="22112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9.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bgabe Case Study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3804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86822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er Gradient der Verlustfunktion zeigt in Richtung des höchsten </a:t>
            </a:r>
            <a:r>
              <a:rPr lang="de-DE" u="sng" dirty="0"/>
              <a:t>Anstieges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Verlustfunktion L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platzhalter 15"/>
              <p:cNvSpPr>
                <a:spLocks noGrp="1"/>
              </p:cNvSpPr>
              <p:nvPr>
                <p:ph type="body" sz="quarter" idx="27"/>
              </p:nvPr>
            </p:nvSpPr>
            <p:spPr>
              <a:xfrm>
                <a:off x="5869073" y="1553687"/>
                <a:ext cx="5548295" cy="4513808"/>
              </a:xfrm>
            </p:spPr>
            <p:txBody>
              <a:bodyPr/>
              <a:lstStyle/>
              <a:p>
                <a:pPr>
                  <a:spcAft>
                    <a:spcPts val="1200"/>
                  </a:spcAft>
                </a:pPr>
                <a:r>
                  <a:rPr lang="de-DE" dirty="0"/>
                  <a:t>Zusammenhang zwischen Gradienten und Funktionsänderung L:</a:t>
                </a:r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:endParaRPr lang="de-DE" dirty="0"/>
              </a:p>
              <a:p>
                <a:pPr>
                  <a:spcAft>
                    <a:spcPts val="1200"/>
                  </a:spcAft>
                </a:pPr>
                <a:r>
                  <a:rPr lang="de-DE" dirty="0"/>
                  <a:t>Frage 1: in welche Richtung soll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𝒘</m:t>
                    </m:r>
                  </m:oMath>
                </a14:m>
                <a:r>
                  <a:rPr lang="de-DE" dirty="0"/>
                  <a:t> eingestellt werden?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de-DE" dirty="0"/>
                  <a:t>Lösung: Setze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𝒘</m:t>
                    </m:r>
                  </m:oMath>
                </a14:m>
                <a:r>
                  <a:rPr lang="de-DE" dirty="0"/>
                  <a:t> entgegengesetzt der Ableitung</a:t>
                </a:r>
              </a:p>
              <a:p>
                <a:pPr>
                  <a:spcAft>
                    <a:spcPts val="1200"/>
                  </a:spcAft>
                </a:pPr>
                <a:r>
                  <a:rPr lang="de-DE" dirty="0"/>
                  <a:t>Frage 2: wie groß soll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gesetzt werden?</a:t>
                </a:r>
              </a:p>
              <a:p>
                <a:pPr lvl="1">
                  <a:spcAft>
                    <a:spcPts val="1200"/>
                  </a:spcAft>
                </a:pPr>
                <a:r>
                  <a:rPr lang="de-DE" dirty="0"/>
                  <a:t>Dies ist leider nicht einwandfrei beantwortbar</a:t>
                </a:r>
              </a:p>
              <a:p>
                <a:pPr lvl="1">
                  <a:spcAft>
                    <a:spcPts val="1200"/>
                  </a:spcAft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𝒘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−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𝜂𝛻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𝐿</m:t>
                    </m:r>
                  </m:oMath>
                </a14:m>
                <a:r>
                  <a:rPr lang="de-DE" dirty="0"/>
                  <a:t>		</a:t>
                </a:r>
                <a:r>
                  <a:rPr lang="de-DE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𝜂</m:t>
                    </m:r>
                  </m:oMath>
                </a14:m>
                <a:r>
                  <a:rPr lang="de-DE" dirty="0"/>
                  <a:t> = Schrittweite ist Freiheitsgrad</a:t>
                </a:r>
              </a:p>
              <a:p>
                <a:pPr lvl="1">
                  <a:spcAft>
                    <a:spcPts val="1200"/>
                  </a:spcAft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𝐿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≈−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𝜂𝛻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𝐿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𝛻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𝐿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−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𝜂</m:t>
                    </m:r>
                    <m:sSup>
                      <m:sSup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𝛻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e>
                        </m:d>
                      </m:e>
                      <m:sup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de-DE" dirty="0"/>
              </a:p>
              <a:p>
                <a:endParaRPr lang="de-DE" dirty="0"/>
              </a:p>
            </p:txBody>
          </p:sp>
        </mc:Choice>
        <mc:Fallback>
          <p:sp>
            <p:nvSpPr>
              <p:cNvPr id="16" name="Textplatzhalter 1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7"/>
              </p:nvPr>
            </p:nvSpPr>
            <p:spPr>
              <a:xfrm>
                <a:off x="5869073" y="1553687"/>
                <a:ext cx="5548295" cy="4513808"/>
              </a:xfrm>
              <a:blipFill>
                <a:blip r:embed="rId2"/>
                <a:stretch>
                  <a:fillRect l="-220" t="-270" r="-22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0</a:t>
            </a:fld>
            <a:endParaRPr lang="de-DE" alt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platzhalter 10"/>
              <p:cNvSpPr>
                <a:spLocks noGrp="1"/>
              </p:cNvSpPr>
              <p:nvPr>
                <p:ph type="body" sz="quarter" idx="24"/>
              </p:nvPr>
            </p:nvSpPr>
            <p:spPr>
              <a:xfrm>
                <a:off x="7056109" y="6181350"/>
                <a:ext cx="4357675" cy="488010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80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∇</m:t>
                    </m:r>
                    <m:r>
                      <a:rPr lang="de-DE" sz="80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𝐿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 = 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𝑉𝑒𝑘𝑡𝑜𝑟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der ersten Ableitung der Verlustfunktion nach allen Gewichten</a:t>
                </a:r>
                <a14:m>
                  <m:oMath xmlns:m="http://schemas.openxmlformats.org/officeDocument/2006/math">
                    <m:r>
                      <a:rPr lang="de-DE" sz="8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de-DE" sz="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de-DE" sz="8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Gradient</m:t>
                        </m:r>
                      </m:e>
                    </m:d>
                    <m:r>
                      <a:rPr lang="de-DE" sz="8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sz="8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mathematisch</m:t>
                    </m:r>
                    <m:r>
                      <a:rPr lang="de-DE" sz="8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:</m:t>
                    </m:r>
                    <m:r>
                      <m:rPr>
                        <m:sty m:val="p"/>
                      </m:rPr>
                      <a:rPr lang="de-DE" sz="8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Nabla</m:t>
                    </m:r>
                    <m:r>
                      <a:rPr lang="de-DE" sz="8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de-DE" sz="8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Operator</m:t>
                    </m:r>
                    <m:r>
                      <a:rPr lang="de-DE" sz="8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, </m:t>
                    </m:r>
                    <m:r>
                      <a:rPr lang="de-DE" sz="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𝜂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i="1" dirty="0" smtClean="0">
                        <a:latin typeface="Cambria Math" panose="02040503050406030204" pitchFamily="18" charset="0"/>
                      </a:rPr>
                      <m:t>𝑆𝑐h𝑟𝑖𝑡𝑡𝑤𝑒𝑖𝑡𝑒</m:t>
                    </m:r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11" name="Textplatzhalter 10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4"/>
              </p:nvPr>
            </p:nvSpPr>
            <p:spPr>
              <a:xfrm>
                <a:off x="7056109" y="6181350"/>
                <a:ext cx="4357675" cy="488010"/>
              </a:xfr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feld 6"/>
          <p:cNvSpPr txBox="1"/>
          <p:nvPr/>
        </p:nvSpPr>
        <p:spPr>
          <a:xfrm>
            <a:off x="6063292" y="1581953"/>
            <a:ext cx="4064959" cy="307777"/>
          </a:xfrm>
          <a:prstGeom prst="rect">
            <a:avLst/>
          </a:prstGeom>
          <a:ln w="28575"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/>
              <p:cNvSpPr txBox="1"/>
              <p:nvPr/>
            </p:nvSpPr>
            <p:spPr>
              <a:xfrm>
                <a:off x="7350042" y="2215449"/>
                <a:ext cx="1606465" cy="779252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𝐿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≈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sub>
                        <m:sup/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num>
                            <m:den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8" name="Textfeld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50042" y="2215449"/>
                <a:ext cx="1606465" cy="77925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feld 31"/>
              <p:cNvSpPr txBox="1"/>
              <p:nvPr/>
            </p:nvSpPr>
            <p:spPr>
              <a:xfrm>
                <a:off x="7279795" y="2870339"/>
                <a:ext cx="1934504" cy="800219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𝑒𝑘𝑡𝑜𝑟𝑠𝑐h𝑟𝑒𝑖𝑏𝑤𝑒𝑖𝑠𝑒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:</m:t>
                      </m:r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𝐿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≈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𝛻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𝐿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∆</m:t>
                      </m:r>
                      <m:r>
                        <a:rPr lang="de-DE" sz="1600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𝒘</m:t>
                      </m:r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2" name="Textfeld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9795" y="2870339"/>
                <a:ext cx="1934504" cy="80021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Rechteck 13"/>
          <p:cNvSpPr/>
          <p:nvPr/>
        </p:nvSpPr>
        <p:spPr>
          <a:xfrm>
            <a:off x="7134381" y="3247196"/>
            <a:ext cx="2376264" cy="307777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grpSp>
        <p:nvGrpSpPr>
          <p:cNvPr id="33" name="Gruppieren 32"/>
          <p:cNvGrpSpPr/>
          <p:nvPr/>
        </p:nvGrpSpPr>
        <p:grpSpPr>
          <a:xfrm>
            <a:off x="812496" y="2169896"/>
            <a:ext cx="4995640" cy="3768816"/>
            <a:chOff x="1919288" y="2215604"/>
            <a:chExt cx="4076685" cy="3768816"/>
          </a:xfrm>
        </p:grpSpPr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CAECDD98-2EA3-4B09-98F5-50F116A6ED0E}"/>
                </a:ext>
              </a:extLst>
            </p:cNvPr>
            <p:cNvCxnSpPr/>
            <p:nvPr/>
          </p:nvCxnSpPr>
          <p:spPr>
            <a:xfrm flipV="1">
              <a:off x="1919288" y="2284023"/>
              <a:ext cx="0" cy="3433913"/>
            </a:xfrm>
            <a:prstGeom prst="straightConnector1">
              <a:avLst/>
            </a:prstGeom>
            <a:ln w="3810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>
              <a:extLst>
                <a:ext uri="{FF2B5EF4-FFF2-40B4-BE49-F238E27FC236}">
                  <a16:creationId xmlns:a16="http://schemas.microsoft.com/office/drawing/2014/main" id="{FF9719FF-83F3-4D31-A2A1-EA1C6B2FB0C1}"/>
                </a:ext>
              </a:extLst>
            </p:cNvPr>
            <p:cNvCxnSpPr>
              <a:cxnSpLocks/>
            </p:cNvCxnSpPr>
            <p:nvPr/>
          </p:nvCxnSpPr>
          <p:spPr>
            <a:xfrm>
              <a:off x="1919288" y="5717935"/>
              <a:ext cx="3368516" cy="0"/>
            </a:xfrm>
            <a:prstGeom prst="straightConnector1">
              <a:avLst/>
            </a:prstGeom>
            <a:ln w="3810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Rechteck 18">
                  <a:extLst>
                    <a:ext uri="{FF2B5EF4-FFF2-40B4-BE49-F238E27FC236}">
                      <a16:creationId xmlns:a16="http://schemas.microsoft.com/office/drawing/2014/main" id="{8B570203-1300-41C4-BAED-7B972ADDC304}"/>
                    </a:ext>
                  </a:extLst>
                </p:cNvPr>
                <p:cNvSpPr/>
                <p:nvPr/>
              </p:nvSpPr>
              <p:spPr>
                <a:xfrm>
                  <a:off x="1919289" y="2215604"/>
                  <a:ext cx="1964769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altLang="de-DE" b="0" i="1" smtClean="0">
                            <a:latin typeface="Cambria Math" panose="02040503050406030204" pitchFamily="18" charset="0"/>
                          </a:rPr>
                          <m:t>𝑉𝑒𝑟𝑙𝑢𝑠𝑡𝑓𝑢𝑛𝑘𝑡𝑖𝑜𝑛</m:t>
                        </m:r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19" name="Rechteck 18">
                  <a:extLst>
                    <a:ext uri="{FF2B5EF4-FFF2-40B4-BE49-F238E27FC236}">
                      <a16:creationId xmlns:a16="http://schemas.microsoft.com/office/drawing/2014/main" id="{8B570203-1300-41C4-BAED-7B972ADDC30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19289" y="2215604"/>
                  <a:ext cx="1964769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1311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E2EFD5DC-0064-48B5-9C6C-9780E2875FD6}"/>
                </a:ext>
              </a:extLst>
            </p:cNvPr>
            <p:cNvCxnSpPr/>
            <p:nvPr/>
          </p:nvCxnSpPr>
          <p:spPr>
            <a:xfrm flipV="1">
              <a:off x="4290925" y="2667211"/>
              <a:ext cx="721878" cy="2609529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23977E87-CCB9-4CD5-90F5-1C00C11B2F34}"/>
                </a:ext>
              </a:extLst>
            </p:cNvPr>
            <p:cNvSpPr/>
            <p:nvPr/>
          </p:nvSpPr>
          <p:spPr>
            <a:xfrm>
              <a:off x="4565927" y="4163819"/>
              <a:ext cx="43651" cy="5590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FB2B2DC1-0431-4A81-A43C-44905705A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16842" y="4176854"/>
              <a:ext cx="1500654" cy="1328441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8C7187B9-9CA8-4AB1-AC0E-304068F80B86}"/>
                </a:ext>
              </a:extLst>
            </p:cNvPr>
            <p:cNvSpPr/>
            <p:nvPr/>
          </p:nvSpPr>
          <p:spPr>
            <a:xfrm>
              <a:off x="4178525" y="4881244"/>
              <a:ext cx="43651" cy="5590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2812A6B8-6F2F-4D82-8AAD-68303B04EC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8640" y="4999938"/>
              <a:ext cx="1888041" cy="271425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5720E8F5-FCD3-450F-8E21-6ED734356031}"/>
                </a:ext>
              </a:extLst>
            </p:cNvPr>
            <p:cNvSpPr/>
            <p:nvPr/>
          </p:nvSpPr>
          <p:spPr>
            <a:xfrm>
              <a:off x="3731648" y="5132359"/>
              <a:ext cx="43651" cy="5590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6" name="Gerade Verbindung mit Pfeil 25">
              <a:extLst>
                <a:ext uri="{FF2B5EF4-FFF2-40B4-BE49-F238E27FC236}">
                  <a16:creationId xmlns:a16="http://schemas.microsoft.com/office/drawing/2014/main" id="{09350966-DC43-4119-862A-62BA32A3200A}"/>
                </a:ext>
              </a:extLst>
            </p:cNvPr>
            <p:cNvCxnSpPr>
              <a:stCxn id="21" idx="1"/>
            </p:cNvCxnSpPr>
            <p:nvPr/>
          </p:nvCxnSpPr>
          <p:spPr>
            <a:xfrm flipH="1">
              <a:off x="4200350" y="4172007"/>
              <a:ext cx="371969" cy="693659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mit Pfeil 26">
              <a:extLst>
                <a:ext uri="{FF2B5EF4-FFF2-40B4-BE49-F238E27FC236}">
                  <a16:creationId xmlns:a16="http://schemas.microsoft.com/office/drawing/2014/main" id="{59D759BD-C8C1-43ED-B071-52B96B63E2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60461" y="4909971"/>
              <a:ext cx="239891" cy="161449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40D95623-CE02-43AD-9492-51D1B0EBD19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53278" y="5098037"/>
              <a:ext cx="220165" cy="53469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8296C429-CCF7-45E8-A861-A39D5992C3C7}"/>
                </a:ext>
              </a:extLst>
            </p:cNvPr>
            <p:cNvSpPr txBox="1"/>
            <p:nvPr/>
          </p:nvSpPr>
          <p:spPr>
            <a:xfrm>
              <a:off x="3128308" y="5376958"/>
              <a:ext cx="11208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Minimum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A9B16E84-FAE0-409D-85AE-4AE01F6D0DE4}"/>
                </a:ext>
              </a:extLst>
            </p:cNvPr>
            <p:cNvSpPr txBox="1"/>
            <p:nvPr/>
          </p:nvSpPr>
          <p:spPr>
            <a:xfrm>
              <a:off x="4836681" y="3114359"/>
              <a:ext cx="115929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Steigung/</a:t>
              </a:r>
            </a:p>
            <a:p>
              <a:r>
                <a:rPr lang="de-DE" dirty="0"/>
                <a:t>Gradient</a:t>
              </a:r>
            </a:p>
          </p:txBody>
        </p:sp>
        <p:sp>
          <p:nvSpPr>
            <p:cNvPr id="3" name="Freihandform 2"/>
            <p:cNvSpPr/>
            <p:nvPr/>
          </p:nvSpPr>
          <p:spPr>
            <a:xfrm>
              <a:off x="2144486" y="2416630"/>
              <a:ext cx="2918732" cy="2765205"/>
            </a:xfrm>
            <a:custGeom>
              <a:avLst/>
              <a:gdLst>
                <a:gd name="connsiteX0" fmla="*/ 0 w 2918732"/>
                <a:gd name="connsiteY0" fmla="*/ 236764 h 2765205"/>
                <a:gd name="connsiteX1" fmla="*/ 167368 w 2918732"/>
                <a:gd name="connsiteY1" fmla="*/ 1351189 h 2765205"/>
                <a:gd name="connsiteX2" fmla="*/ 669471 w 2918732"/>
                <a:gd name="connsiteY2" fmla="*/ 2343150 h 2765205"/>
                <a:gd name="connsiteX3" fmla="*/ 1065439 w 2918732"/>
                <a:gd name="connsiteY3" fmla="*/ 2677885 h 2765205"/>
                <a:gd name="connsiteX4" fmla="*/ 1400175 w 2918732"/>
                <a:gd name="connsiteY4" fmla="*/ 2743200 h 2765205"/>
                <a:gd name="connsiteX5" fmla="*/ 1612446 w 2918732"/>
                <a:gd name="connsiteY5" fmla="*/ 2743200 h 2765205"/>
                <a:gd name="connsiteX6" fmla="*/ 2065564 w 2918732"/>
                <a:gd name="connsiteY6" fmla="*/ 2481942 h 2765205"/>
                <a:gd name="connsiteX7" fmla="*/ 2441121 w 2918732"/>
                <a:gd name="connsiteY7" fmla="*/ 1751239 h 2765205"/>
                <a:gd name="connsiteX8" fmla="*/ 2898321 w 2918732"/>
                <a:gd name="connsiteY8" fmla="*/ 24492 h 2765205"/>
                <a:gd name="connsiteX9" fmla="*/ 2898321 w 2918732"/>
                <a:gd name="connsiteY9" fmla="*/ 24492 h 2765205"/>
                <a:gd name="connsiteX10" fmla="*/ 2898321 w 2918732"/>
                <a:gd name="connsiteY10" fmla="*/ 24492 h 2765205"/>
                <a:gd name="connsiteX11" fmla="*/ 2898321 w 2918732"/>
                <a:gd name="connsiteY11" fmla="*/ 24492 h 2765205"/>
                <a:gd name="connsiteX12" fmla="*/ 2918732 w 2918732"/>
                <a:gd name="connsiteY12" fmla="*/ 0 h 2765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18732" h="2765205">
                  <a:moveTo>
                    <a:pt x="0" y="236764"/>
                  </a:moveTo>
                  <a:cubicBezTo>
                    <a:pt x="27895" y="618444"/>
                    <a:pt x="55790" y="1000125"/>
                    <a:pt x="167368" y="1351189"/>
                  </a:cubicBezTo>
                  <a:cubicBezTo>
                    <a:pt x="278946" y="1702253"/>
                    <a:pt x="519793" y="2122034"/>
                    <a:pt x="669471" y="2343150"/>
                  </a:cubicBezTo>
                  <a:cubicBezTo>
                    <a:pt x="819150" y="2564266"/>
                    <a:pt x="943655" y="2611210"/>
                    <a:pt x="1065439" y="2677885"/>
                  </a:cubicBezTo>
                  <a:cubicBezTo>
                    <a:pt x="1187223" y="2744560"/>
                    <a:pt x="1309007" y="2732314"/>
                    <a:pt x="1400175" y="2743200"/>
                  </a:cubicBezTo>
                  <a:cubicBezTo>
                    <a:pt x="1491343" y="2754086"/>
                    <a:pt x="1501548" y="2786743"/>
                    <a:pt x="1612446" y="2743200"/>
                  </a:cubicBezTo>
                  <a:cubicBezTo>
                    <a:pt x="1723344" y="2699657"/>
                    <a:pt x="1927452" y="2647269"/>
                    <a:pt x="2065564" y="2481942"/>
                  </a:cubicBezTo>
                  <a:cubicBezTo>
                    <a:pt x="2203676" y="2316615"/>
                    <a:pt x="2302328" y="2160814"/>
                    <a:pt x="2441121" y="1751239"/>
                  </a:cubicBezTo>
                  <a:cubicBezTo>
                    <a:pt x="2579914" y="1341664"/>
                    <a:pt x="2898321" y="24492"/>
                    <a:pt x="2898321" y="24492"/>
                  </a:cubicBezTo>
                  <a:lnTo>
                    <a:pt x="2898321" y="24492"/>
                  </a:lnTo>
                  <a:lnTo>
                    <a:pt x="2898321" y="24492"/>
                  </a:lnTo>
                  <a:lnTo>
                    <a:pt x="2898321" y="24492"/>
                  </a:lnTo>
                  <a:lnTo>
                    <a:pt x="2918732" y="0"/>
                  </a:lnTo>
                </a:path>
              </a:pathLst>
            </a:custGeom>
            <a:noFill/>
            <a:ln w="28575">
              <a:solidFill>
                <a:schemeClr val="tx1"/>
              </a:solidFill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" name="Textfeld 1"/>
            <p:cNvSpPr txBox="1"/>
            <p:nvPr/>
          </p:nvSpPr>
          <p:spPr>
            <a:xfrm>
              <a:off x="4865166" y="5707421"/>
              <a:ext cx="295274" cy="276999"/>
            </a:xfrm>
            <a:prstGeom prst="rect">
              <a:avLst/>
            </a:prstGeom>
            <a:ln w="28575"/>
          </p:spPr>
          <p:txBody>
            <a:bodyPr wrap="none" rtlCol="0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de-DE" sz="1200" dirty="0"/>
                <a:t>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588232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er Gradient der Verlustfunktion zeigt in Richtung des höchsten Anstieges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Verlustfunk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1</a:t>
            </a:fld>
            <a:endParaRPr lang="de-DE" alt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31" name="Inhaltsplatzhalter 8">
            <a:extLst>
              <a:ext uri="{FF2B5EF4-FFF2-40B4-BE49-F238E27FC236}">
                <a16:creationId xmlns:a16="http://schemas.microsoft.com/office/drawing/2014/main" id="{DD47994A-26C6-4788-A81D-C9AC6DBFF9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9225119"/>
              </p:ext>
            </p:extLst>
          </p:nvPr>
        </p:nvGraphicFramePr>
        <p:xfrm>
          <a:off x="6419850" y="2100050"/>
          <a:ext cx="4860726" cy="37708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5" name="Gruppieren 14"/>
          <p:cNvGrpSpPr/>
          <p:nvPr/>
        </p:nvGrpSpPr>
        <p:grpSpPr>
          <a:xfrm>
            <a:off x="723587" y="2214292"/>
            <a:ext cx="5084549" cy="3530686"/>
            <a:chOff x="1919288" y="2215604"/>
            <a:chExt cx="4076685" cy="3530686"/>
          </a:xfrm>
        </p:grpSpPr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CAECDD98-2EA3-4B09-98F5-50F116A6ED0E}"/>
                </a:ext>
              </a:extLst>
            </p:cNvPr>
            <p:cNvCxnSpPr/>
            <p:nvPr/>
          </p:nvCxnSpPr>
          <p:spPr>
            <a:xfrm flipV="1">
              <a:off x="1919288" y="2284023"/>
              <a:ext cx="0" cy="3433913"/>
            </a:xfrm>
            <a:prstGeom prst="straightConnector1">
              <a:avLst/>
            </a:prstGeom>
            <a:ln w="3810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>
              <a:extLst>
                <a:ext uri="{FF2B5EF4-FFF2-40B4-BE49-F238E27FC236}">
                  <a16:creationId xmlns:a16="http://schemas.microsoft.com/office/drawing/2014/main" id="{FF9719FF-83F3-4D31-A2A1-EA1C6B2FB0C1}"/>
                </a:ext>
              </a:extLst>
            </p:cNvPr>
            <p:cNvCxnSpPr>
              <a:cxnSpLocks/>
            </p:cNvCxnSpPr>
            <p:nvPr/>
          </p:nvCxnSpPr>
          <p:spPr>
            <a:xfrm>
              <a:off x="1919288" y="5717935"/>
              <a:ext cx="3368516" cy="0"/>
            </a:xfrm>
            <a:prstGeom prst="straightConnector1">
              <a:avLst/>
            </a:prstGeom>
            <a:ln w="38100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Rechteck 18">
                  <a:extLst>
                    <a:ext uri="{FF2B5EF4-FFF2-40B4-BE49-F238E27FC236}">
                      <a16:creationId xmlns:a16="http://schemas.microsoft.com/office/drawing/2014/main" id="{8B570203-1300-41C4-BAED-7B972ADDC304}"/>
                    </a:ext>
                  </a:extLst>
                </p:cNvPr>
                <p:cNvSpPr/>
                <p:nvPr/>
              </p:nvSpPr>
              <p:spPr>
                <a:xfrm>
                  <a:off x="1919289" y="2215604"/>
                  <a:ext cx="1964769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altLang="de-DE" b="0" i="1" smtClean="0">
                            <a:latin typeface="Cambria Math" panose="02040503050406030204" pitchFamily="18" charset="0"/>
                          </a:rPr>
                          <m:t>𝑉𝑒𝑟𝑙𝑢𝑠𝑡𝑓𝑢𝑛𝑘𝑡𝑖𝑜𝑛</m:t>
                        </m:r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19" name="Rechteck 18">
                  <a:extLst>
                    <a:ext uri="{FF2B5EF4-FFF2-40B4-BE49-F238E27FC236}">
                      <a16:creationId xmlns:a16="http://schemas.microsoft.com/office/drawing/2014/main" id="{8B570203-1300-41C4-BAED-7B972ADDC30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19289" y="2215604"/>
                  <a:ext cx="1964769" cy="369332"/>
                </a:xfrm>
                <a:prstGeom prst="rect">
                  <a:avLst/>
                </a:prstGeom>
                <a:blipFill>
                  <a:blip r:embed="rId7"/>
                  <a:stretch>
                    <a:fillRect b="-14754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E2EFD5DC-0064-48B5-9C6C-9780E2875FD6}"/>
                </a:ext>
              </a:extLst>
            </p:cNvPr>
            <p:cNvCxnSpPr/>
            <p:nvPr/>
          </p:nvCxnSpPr>
          <p:spPr>
            <a:xfrm flipV="1">
              <a:off x="4290925" y="2667211"/>
              <a:ext cx="721878" cy="2609529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23977E87-CCB9-4CD5-90F5-1C00C11B2F34}"/>
                </a:ext>
              </a:extLst>
            </p:cNvPr>
            <p:cNvSpPr/>
            <p:nvPr/>
          </p:nvSpPr>
          <p:spPr>
            <a:xfrm>
              <a:off x="4565927" y="4163819"/>
              <a:ext cx="43651" cy="5590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FB2B2DC1-0431-4A81-A43C-44905705A7E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16842" y="4176854"/>
              <a:ext cx="1500654" cy="1328441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8C7187B9-9CA8-4AB1-AC0E-304068F80B86}"/>
                </a:ext>
              </a:extLst>
            </p:cNvPr>
            <p:cNvSpPr/>
            <p:nvPr/>
          </p:nvSpPr>
          <p:spPr>
            <a:xfrm>
              <a:off x="4178525" y="4881244"/>
              <a:ext cx="43651" cy="5590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2812A6B8-6F2F-4D82-8AAD-68303B04EC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8640" y="4999938"/>
              <a:ext cx="1888041" cy="271425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5720E8F5-FCD3-450F-8E21-6ED734356031}"/>
                </a:ext>
              </a:extLst>
            </p:cNvPr>
            <p:cNvSpPr/>
            <p:nvPr/>
          </p:nvSpPr>
          <p:spPr>
            <a:xfrm>
              <a:off x="3731648" y="5132359"/>
              <a:ext cx="43651" cy="5590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6" name="Gerade Verbindung mit Pfeil 25">
              <a:extLst>
                <a:ext uri="{FF2B5EF4-FFF2-40B4-BE49-F238E27FC236}">
                  <a16:creationId xmlns:a16="http://schemas.microsoft.com/office/drawing/2014/main" id="{09350966-DC43-4119-862A-62BA32A3200A}"/>
                </a:ext>
              </a:extLst>
            </p:cNvPr>
            <p:cNvCxnSpPr>
              <a:stCxn id="21" idx="1"/>
            </p:cNvCxnSpPr>
            <p:nvPr/>
          </p:nvCxnSpPr>
          <p:spPr>
            <a:xfrm flipH="1">
              <a:off x="4200350" y="4172007"/>
              <a:ext cx="371969" cy="693659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mit Pfeil 26">
              <a:extLst>
                <a:ext uri="{FF2B5EF4-FFF2-40B4-BE49-F238E27FC236}">
                  <a16:creationId xmlns:a16="http://schemas.microsoft.com/office/drawing/2014/main" id="{59D759BD-C8C1-43ED-B071-52B96B63E2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60461" y="4909971"/>
              <a:ext cx="239891" cy="161449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40D95623-CE02-43AD-9492-51D1B0EBD19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53278" y="5098037"/>
              <a:ext cx="220165" cy="53469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8296C429-CCF7-45E8-A861-A39D5992C3C7}"/>
                </a:ext>
              </a:extLst>
            </p:cNvPr>
            <p:cNvSpPr txBox="1"/>
            <p:nvPr/>
          </p:nvSpPr>
          <p:spPr>
            <a:xfrm>
              <a:off x="3128308" y="5376958"/>
              <a:ext cx="11208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Minimum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A9B16E84-FAE0-409D-85AE-4AE01F6D0DE4}"/>
                </a:ext>
              </a:extLst>
            </p:cNvPr>
            <p:cNvSpPr txBox="1"/>
            <p:nvPr/>
          </p:nvSpPr>
          <p:spPr>
            <a:xfrm>
              <a:off x="4836681" y="3114359"/>
              <a:ext cx="115929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Steigung/</a:t>
              </a:r>
            </a:p>
            <a:p>
              <a:r>
                <a:rPr lang="de-DE" dirty="0"/>
                <a:t>Gradient</a:t>
              </a:r>
            </a:p>
          </p:txBody>
        </p:sp>
        <p:sp>
          <p:nvSpPr>
            <p:cNvPr id="3" name="Freihandform 2"/>
            <p:cNvSpPr/>
            <p:nvPr/>
          </p:nvSpPr>
          <p:spPr>
            <a:xfrm>
              <a:off x="2144486" y="2416630"/>
              <a:ext cx="2918732" cy="2765205"/>
            </a:xfrm>
            <a:custGeom>
              <a:avLst/>
              <a:gdLst>
                <a:gd name="connsiteX0" fmla="*/ 0 w 2918732"/>
                <a:gd name="connsiteY0" fmla="*/ 236764 h 2765205"/>
                <a:gd name="connsiteX1" fmla="*/ 167368 w 2918732"/>
                <a:gd name="connsiteY1" fmla="*/ 1351189 h 2765205"/>
                <a:gd name="connsiteX2" fmla="*/ 669471 w 2918732"/>
                <a:gd name="connsiteY2" fmla="*/ 2343150 h 2765205"/>
                <a:gd name="connsiteX3" fmla="*/ 1065439 w 2918732"/>
                <a:gd name="connsiteY3" fmla="*/ 2677885 h 2765205"/>
                <a:gd name="connsiteX4" fmla="*/ 1400175 w 2918732"/>
                <a:gd name="connsiteY4" fmla="*/ 2743200 h 2765205"/>
                <a:gd name="connsiteX5" fmla="*/ 1612446 w 2918732"/>
                <a:gd name="connsiteY5" fmla="*/ 2743200 h 2765205"/>
                <a:gd name="connsiteX6" fmla="*/ 2065564 w 2918732"/>
                <a:gd name="connsiteY6" fmla="*/ 2481942 h 2765205"/>
                <a:gd name="connsiteX7" fmla="*/ 2441121 w 2918732"/>
                <a:gd name="connsiteY7" fmla="*/ 1751239 h 2765205"/>
                <a:gd name="connsiteX8" fmla="*/ 2898321 w 2918732"/>
                <a:gd name="connsiteY8" fmla="*/ 24492 h 2765205"/>
                <a:gd name="connsiteX9" fmla="*/ 2898321 w 2918732"/>
                <a:gd name="connsiteY9" fmla="*/ 24492 h 2765205"/>
                <a:gd name="connsiteX10" fmla="*/ 2898321 w 2918732"/>
                <a:gd name="connsiteY10" fmla="*/ 24492 h 2765205"/>
                <a:gd name="connsiteX11" fmla="*/ 2898321 w 2918732"/>
                <a:gd name="connsiteY11" fmla="*/ 24492 h 2765205"/>
                <a:gd name="connsiteX12" fmla="*/ 2918732 w 2918732"/>
                <a:gd name="connsiteY12" fmla="*/ 0 h 2765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18732" h="2765205">
                  <a:moveTo>
                    <a:pt x="0" y="236764"/>
                  </a:moveTo>
                  <a:cubicBezTo>
                    <a:pt x="27895" y="618444"/>
                    <a:pt x="55790" y="1000125"/>
                    <a:pt x="167368" y="1351189"/>
                  </a:cubicBezTo>
                  <a:cubicBezTo>
                    <a:pt x="278946" y="1702253"/>
                    <a:pt x="519793" y="2122034"/>
                    <a:pt x="669471" y="2343150"/>
                  </a:cubicBezTo>
                  <a:cubicBezTo>
                    <a:pt x="819150" y="2564266"/>
                    <a:pt x="943655" y="2611210"/>
                    <a:pt x="1065439" y="2677885"/>
                  </a:cubicBezTo>
                  <a:cubicBezTo>
                    <a:pt x="1187223" y="2744560"/>
                    <a:pt x="1309007" y="2732314"/>
                    <a:pt x="1400175" y="2743200"/>
                  </a:cubicBezTo>
                  <a:cubicBezTo>
                    <a:pt x="1491343" y="2754086"/>
                    <a:pt x="1501548" y="2786743"/>
                    <a:pt x="1612446" y="2743200"/>
                  </a:cubicBezTo>
                  <a:cubicBezTo>
                    <a:pt x="1723344" y="2699657"/>
                    <a:pt x="1927452" y="2647269"/>
                    <a:pt x="2065564" y="2481942"/>
                  </a:cubicBezTo>
                  <a:cubicBezTo>
                    <a:pt x="2203676" y="2316615"/>
                    <a:pt x="2302328" y="2160814"/>
                    <a:pt x="2441121" y="1751239"/>
                  </a:cubicBezTo>
                  <a:cubicBezTo>
                    <a:pt x="2579914" y="1341664"/>
                    <a:pt x="2898321" y="24492"/>
                    <a:pt x="2898321" y="24492"/>
                  </a:cubicBezTo>
                  <a:lnTo>
                    <a:pt x="2898321" y="24492"/>
                  </a:lnTo>
                  <a:lnTo>
                    <a:pt x="2898321" y="24492"/>
                  </a:lnTo>
                  <a:lnTo>
                    <a:pt x="2898321" y="24492"/>
                  </a:lnTo>
                  <a:lnTo>
                    <a:pt x="2918732" y="0"/>
                  </a:lnTo>
                </a:path>
              </a:pathLst>
            </a:custGeom>
            <a:noFill/>
            <a:ln w="28575">
              <a:solidFill>
                <a:schemeClr val="tx1"/>
              </a:solidFill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0" name="Verbinder: gewinkelt 9">
            <a:extLst>
              <a:ext uri="{FF2B5EF4-FFF2-40B4-BE49-F238E27FC236}">
                <a16:creationId xmlns:a16="http://schemas.microsoft.com/office/drawing/2014/main" id="{757B1A79-15AF-40BD-945A-B055F0AF6C66}"/>
              </a:ext>
            </a:extLst>
          </p:cNvPr>
          <p:cNvCxnSpPr>
            <a:cxnSpLocks/>
            <a:stCxn id="31" idx="2"/>
            <a:endCxn id="31" idx="0"/>
          </p:cNvCxnSpPr>
          <p:nvPr/>
        </p:nvCxnSpPr>
        <p:spPr>
          <a:xfrm rot="5400000" flipH="1">
            <a:off x="6964777" y="3985486"/>
            <a:ext cx="3770872" cy="12700"/>
          </a:xfrm>
          <a:prstGeom prst="bentConnector5">
            <a:avLst>
              <a:gd name="adj1" fmla="val -6062"/>
              <a:gd name="adj2" fmla="val -19177567"/>
              <a:gd name="adj3" fmla="val 106062"/>
            </a:avLst>
          </a:prstGeom>
          <a:ln w="28575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22370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Zielsetzung: Minimierung der Verlustfunktio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2</a:t>
            </a:fld>
            <a:endParaRPr lang="de-DE" alt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3B835F5F-4F11-4A4A-90E3-2BF2541A32F8}"/>
                  </a:ext>
                </a:extLst>
              </p:cNvPr>
              <p:cNvSpPr txBox="1"/>
              <p:nvPr/>
            </p:nvSpPr>
            <p:spPr>
              <a:xfrm>
                <a:off x="3492845" y="1761375"/>
                <a:ext cx="7920937" cy="413921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Aufstellen der Verlustfunktion: </a:t>
                </a:r>
              </a:p>
              <a:p>
                <a:r>
                  <a:rPr lang="de-DE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1600">
                        <a:latin typeface="Cambria Math" panose="02040503050406030204" pitchFamily="18" charset="0"/>
                      </a:rPr>
                      <m:t>L</m:t>
                    </m:r>
                    <m:r>
                      <a:rPr lang="de-DE" sz="160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>
                            <a:latin typeface="Cambria Math" panose="02040503050406030204" pitchFamily="18" charset="0"/>
                          </a:rPr>
                          <m:t>0,5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 sz="1600">
                            <a:latin typeface="Cambria Math" panose="02040503050406030204" pitchFamily="18" charset="0"/>
                          </a:rPr>
                          <m:t>n</m:t>
                        </m:r>
                      </m:den>
                    </m:f>
                    <m:r>
                      <a:rPr lang="de-DE" sz="1600" i="1">
                        <a:latin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nary>
                          <m:naryPr>
                            <m:chr m:val="∑"/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de-DE" sz="16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  <m:e>
                            <m:d>
                              <m:dPr>
                                <m:ctrlPr>
                                  <a:rPr lang="de-DE" sz="16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600" b="1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𝜽</m:t>
                                </m:r>
                                <m:d>
                                  <m:dPr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600" b="1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𝒘</m:t>
                                    </m:r>
                                    <m:r>
                                      <a:rPr lang="de-DE" sz="1600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,</m:t>
                                    </m:r>
                                    <m:sSub>
                                      <m:sSubPr>
                                        <m:ctrlPr>
                                          <a:rPr lang="de-DE" sz="16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600" b="1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𝒙</m:t>
                                        </m:r>
                                      </m:e>
                                      <m:sub>
                                        <m:r>
                                          <a:rPr lang="de-DE" sz="16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</m:d>
                          </m:e>
                        </m:nary>
                      </m:e>
                      <m:sup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de-DE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Ableitung der Verlustfunktion nach allen Gewichten j (Kettenregel): </a:t>
                </a:r>
                <a:b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14:m>
                  <m:oMath xmlns:m="http://schemas.openxmlformats.org/officeDocument/2006/math"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𝐿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den>
                    </m:f>
                    <m:r>
                      <a:rPr lang="de-DE" sz="1600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16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d>
                          <m:dPr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sz="1600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𝜽</m:t>
                            </m:r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de-DE" sz="1600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𝒘</m:t>
                            </m:r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de-DE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1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de-DE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</m:d>
                      </m:e>
                    </m:nary>
                  </m:oMath>
                </a14:m>
                <a:r>
                  <a:rPr lang="de-DE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den>
                    </m:f>
                    <m:d>
                      <m:d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de-DE" sz="16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𝜽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lang="de-DE" sz="1600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𝒘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e>
                    </m:d>
                  </m:oMath>
                </a14:m>
                <a:endParaRPr lang="de-DE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Für den Fall dass 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𝜃</m:t>
                    </m:r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eine </a:t>
                </a:r>
                <a:r>
                  <a:rPr lang="de-DE" sz="1400" u="sng" dirty="0">
                    <a:latin typeface="Arial" panose="020B0604020202020204" pitchFamily="34" charset="0"/>
                    <a:cs typeface="Arial" panose="020B0604020202020204" pitchFamily="34" charset="0"/>
                  </a:rPr>
                  <a:t>lineare</a:t>
                </a:r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Funktion ist (Matrixmultiplikation), folgt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𝐿</m:t>
                          </m:r>
                        </m:num>
                        <m:den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de-DE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de-DE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den>
                      </m:f>
                      <m:r>
                        <a:rPr lang="de-DE" sz="14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4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4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d>
                            <m:dPr>
                              <m:ctrlPr>
                                <a:rPr lang="de-DE" sz="1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de-DE" sz="14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d>
                                <m:dPr>
                                  <m:ctrlPr>
                                    <a:rPr lang="de-DE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sSup>
                                    <m:sSupPr>
                                      <m:ctrlP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𝑤</m:t>
                                      </m:r>
                                    </m:e>
                                    <m:sup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de-DE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∙</m:t>
                              </m:r>
                              <m:sSub>
                                <m:sSubPr>
                                  <m:ctrlPr>
                                    <a:rPr lang="de-DE" sz="1400" i="1" smtClean="0">
                                      <a:solidFill>
                                        <a:srgbClr val="0070C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 i="1">
                                      <a:solidFill>
                                        <a:srgbClr val="0070C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sz="1400" i="1">
                                      <a:solidFill>
                                        <a:srgbClr val="0070C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</m:oMath>
                  </m:oMathPara>
                </a14:m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Aktualisierung der Gewichte in negative Richtung des Gradienten </a:t>
                </a:r>
                <a14:m>
                  <m:oMath xmlns:m="http://schemas.openxmlformats.org/officeDocument/2006/math"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6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𝒘</m:t>
                    </m:r>
                    <m:r>
                      <a:rPr lang="de-DE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−</m:t>
                    </m:r>
                    <m:r>
                      <a:rPr lang="de-DE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𝜂𝛻</m:t>
                    </m:r>
                    <m:r>
                      <a:rPr lang="de-DE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𝐿</m:t>
                    </m:r>
                  </m:oMath>
                </a14:m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  (Hinweis: </a:t>
                </a:r>
                <a14:m>
                  <m:oMath xmlns:m="http://schemas.openxmlformats.org/officeDocument/2006/math">
                    <m:r>
                      <a:rPr lang="de-DE" sz="110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−∗− = +</m:t>
                    </m:r>
                  </m:oMath>
                </a14:m>
                <a:r>
                  <a:rPr lang="de-DE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):</a:t>
                </a:r>
              </a:p>
              <a:p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r>
                        <a:rPr lang="de-DE" sz="1400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𝒘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de-DE" sz="1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𝜂</m:t>
                      </m:r>
                      <m:r>
                        <a:rPr lang="de-DE" sz="1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sz="1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4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d>
                            <m:dPr>
                              <m:ctrlPr>
                                <a:rPr lang="de-DE" sz="1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de-DE" sz="14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d>
                                <m:dPr>
                                  <m:ctrlPr>
                                    <a:rPr lang="de-DE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sSup>
                                    <m:sSupPr>
                                      <m:ctrlP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𝑤</m:t>
                                      </m:r>
                                    </m:e>
                                    <m:sup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∙</m:t>
                              </m:r>
                              <m:sSub>
                                <m:sSubPr>
                                  <m:ctrlPr>
                                    <a:rPr lang="de-DE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</m:oMath>
                  </m:oMathPara>
                </a14:m>
                <a:endParaRPr lang="de-DE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3B835F5F-4F11-4A4A-90E3-2BF2541A3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2845" y="1761375"/>
                <a:ext cx="7920937" cy="4139210"/>
              </a:xfrm>
              <a:prstGeom prst="rect">
                <a:avLst/>
              </a:prstGeom>
              <a:blipFill>
                <a:blip r:embed="rId2"/>
                <a:stretch>
                  <a:fillRect l="-1386" t="-3387" r="-77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162F321-EDC2-4A2F-8519-BA40254A85E8}"/>
              </a:ext>
            </a:extLst>
          </p:cNvPr>
          <p:cNvGrpSpPr/>
          <p:nvPr/>
        </p:nvGrpSpPr>
        <p:grpSpPr>
          <a:xfrm>
            <a:off x="1993969" y="1874983"/>
            <a:ext cx="933251" cy="3869343"/>
            <a:chOff x="469968" y="2479525"/>
            <a:chExt cx="933251" cy="3040380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EC65668E-2FAC-40FD-8BBD-D8D9504EC03C}"/>
                </a:ext>
              </a:extLst>
            </p:cNvPr>
            <p:cNvSpPr/>
            <p:nvPr/>
          </p:nvSpPr>
          <p:spPr>
            <a:xfrm>
              <a:off x="974091" y="2479525"/>
              <a:ext cx="429128" cy="398145"/>
            </a:xfrm>
            <a:prstGeom prst="ellipse">
              <a:avLst/>
            </a:prstGeom>
            <a:solidFill>
              <a:srgbClr val="FF0000"/>
            </a:solidFill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b="1" dirty="0"/>
                <a:t>1</a:t>
              </a: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FA20F090-C117-4360-AD48-B0F2735530E9}"/>
                </a:ext>
              </a:extLst>
            </p:cNvPr>
            <p:cNvSpPr/>
            <p:nvPr/>
          </p:nvSpPr>
          <p:spPr>
            <a:xfrm>
              <a:off x="974091" y="3705625"/>
              <a:ext cx="429128" cy="398145"/>
            </a:xfrm>
            <a:prstGeom prst="ellipse">
              <a:avLst/>
            </a:prstGeom>
            <a:solidFill>
              <a:srgbClr val="FF0000"/>
            </a:solidFill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b="1" dirty="0"/>
                <a:t>2</a:t>
              </a:r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200C1719-FF1E-44DF-95C4-53C984FE63A2}"/>
                </a:ext>
              </a:extLst>
            </p:cNvPr>
            <p:cNvSpPr/>
            <p:nvPr/>
          </p:nvSpPr>
          <p:spPr>
            <a:xfrm>
              <a:off x="974091" y="5121760"/>
              <a:ext cx="429128" cy="398145"/>
            </a:xfrm>
            <a:prstGeom prst="ellipse">
              <a:avLst/>
            </a:prstGeom>
            <a:solidFill>
              <a:srgbClr val="FF0000"/>
            </a:solidFill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b="1" dirty="0"/>
                <a:t>3</a:t>
              </a:r>
            </a:p>
          </p:txBody>
        </p:sp>
        <p:sp>
          <p:nvSpPr>
            <p:cNvPr id="21" name="Pfeil: 180-Grad 9">
              <a:extLst>
                <a:ext uri="{FF2B5EF4-FFF2-40B4-BE49-F238E27FC236}">
                  <a16:creationId xmlns:a16="http://schemas.microsoft.com/office/drawing/2014/main" id="{FE4B4140-FA29-4FA9-9AAA-833FA3A95899}"/>
                </a:ext>
              </a:extLst>
            </p:cNvPr>
            <p:cNvSpPr/>
            <p:nvPr/>
          </p:nvSpPr>
          <p:spPr>
            <a:xfrm rot="16200000">
              <a:off x="-739773" y="3738011"/>
              <a:ext cx="2848610" cy="429128"/>
            </a:xfrm>
            <a:prstGeom prst="uturnArrow">
              <a:avLst>
                <a:gd name="adj1" fmla="val 22207"/>
                <a:gd name="adj2" fmla="val 25000"/>
                <a:gd name="adj3" fmla="val 11800"/>
                <a:gd name="adj4" fmla="val 37051"/>
                <a:gd name="adj5" fmla="val 10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22" name="Geschweifte Klammer links 21">
            <a:extLst>
              <a:ext uri="{FF2B5EF4-FFF2-40B4-BE49-F238E27FC236}">
                <a16:creationId xmlns:a16="http://schemas.microsoft.com/office/drawing/2014/main" id="{047741B3-6E75-4FBE-9C8A-8CCE4271F375}"/>
              </a:ext>
            </a:extLst>
          </p:cNvPr>
          <p:cNvSpPr/>
          <p:nvPr/>
        </p:nvSpPr>
        <p:spPr>
          <a:xfrm>
            <a:off x="3241965" y="2678597"/>
            <a:ext cx="193963" cy="197653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Pfeil: nach rechts 19">
            <a:extLst>
              <a:ext uri="{FF2B5EF4-FFF2-40B4-BE49-F238E27FC236}">
                <a16:creationId xmlns:a16="http://schemas.microsoft.com/office/drawing/2014/main" id="{CD888D32-73E4-4155-B6F2-D0A5E24EBDE6}"/>
              </a:ext>
            </a:extLst>
          </p:cNvPr>
          <p:cNvSpPr/>
          <p:nvPr/>
        </p:nvSpPr>
        <p:spPr>
          <a:xfrm>
            <a:off x="7130040" y="5379248"/>
            <a:ext cx="323273" cy="385007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36000" rtlCol="0" anchor="ctr">
            <a:noAutofit/>
          </a:bodyPr>
          <a:lstStyle/>
          <a:p>
            <a:pPr algn="ctr"/>
            <a:endParaRPr lang="de-DE" sz="120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3E376AF-66E4-45A9-B9FA-BA1B3698E690}"/>
              </a:ext>
            </a:extLst>
          </p:cNvPr>
          <p:cNvSpPr txBox="1"/>
          <p:nvPr/>
        </p:nvSpPr>
        <p:spPr>
          <a:xfrm>
            <a:off x="7682673" y="5269918"/>
            <a:ext cx="28296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u="sng" dirty="0"/>
              <a:t>Python:</a:t>
            </a:r>
          </a:p>
          <a:p>
            <a:pPr algn="l"/>
            <a:r>
              <a:rPr lang="de-DE" sz="1600" dirty="0" err="1"/>
              <a:t>Gradientenabstiegsverfahren</a:t>
            </a:r>
            <a:endParaRPr lang="de-DE" sz="16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hteck 3"/>
              <p:cNvSpPr/>
              <p:nvPr/>
            </p:nvSpPr>
            <p:spPr>
              <a:xfrm>
                <a:off x="7176120" y="1697461"/>
                <a:ext cx="419403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𝜽</m:t>
                    </m:r>
                    <m:d>
                      <m:dPr>
                        <m:ctrlPr>
                          <a:rPr lang="de-DE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𝒘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  <m:sSup>
                      <m:sSup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</m:t>
                        </m:r>
                      </m:e>
                      <m:sup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de-DE" dirty="0"/>
                  <a:t> bei linearer Aktivierung</a:t>
                </a:r>
              </a:p>
            </p:txBody>
          </p:sp>
        </mc:Choice>
        <mc:Fallback xmlns="">
          <p:sp>
            <p:nvSpPr>
              <p:cNvPr id="4" name="Rechteck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76120" y="1697461"/>
                <a:ext cx="4194033" cy="369332"/>
              </a:xfrm>
              <a:prstGeom prst="rect">
                <a:avLst/>
              </a:prstGeom>
              <a:blipFill>
                <a:blip r:embed="rId3"/>
                <a:stretch>
                  <a:fillRect t="-8197" r="-727" b="-24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42447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Diagramm 20"/>
          <p:cNvGraphicFramePr/>
          <p:nvPr>
            <p:extLst>
              <p:ext uri="{D42A27DB-BD31-4B8C-83A1-F6EECF244321}">
                <p14:modId xmlns:p14="http://schemas.microsoft.com/office/powerpoint/2010/main" val="508102331"/>
              </p:ext>
            </p:extLst>
          </p:nvPr>
        </p:nvGraphicFramePr>
        <p:xfrm>
          <a:off x="527050" y="1581402"/>
          <a:ext cx="5069409" cy="50135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Mit Hilfe des stochastischen </a:t>
            </a:r>
            <a:r>
              <a:rPr lang="de-DE" dirty="0" err="1"/>
              <a:t>Gradientenabstieg</a:t>
            </a:r>
            <a:r>
              <a:rPr lang="de-DE" dirty="0"/>
              <a:t>-Verfahrens können große Datensamples effizienter trainiert werd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Stochastisches </a:t>
            </a:r>
            <a:r>
              <a:rPr lang="de-DE" dirty="0" err="1"/>
              <a:t>Gradientenabstieg</a:t>
            </a:r>
            <a:r>
              <a:rPr lang="de-DE" dirty="0"/>
              <a:t>-Verfahre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platzhalter 11"/>
              <p:cNvSpPr>
                <a:spLocks noGrp="1"/>
              </p:cNvSpPr>
              <p:nvPr>
                <p:ph type="body" sz="quarter" idx="27"/>
              </p:nvPr>
            </p:nvSpPr>
            <p:spPr/>
            <p:txBody>
              <a:bodyPr/>
              <a:lstStyle/>
              <a:p>
                <a:r>
                  <a:rPr lang="de-DE" dirty="0"/>
                  <a:t>Ausgangspunkt: </a:t>
                </a:r>
              </a:p>
              <a:p>
                <a:endParaRPr lang="de-DE" dirty="0">
                  <a:ea typeface="Cambria Math" panose="02040503050406030204" pitchFamily="18" charset="0"/>
                </a:endParaRPr>
              </a:p>
              <a:p>
                <a:endParaRPr lang="de-DE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de-DE" dirty="0"/>
              </a:p>
              <a:p>
                <a:r>
                  <a:rPr lang="de-DE" dirty="0" err="1"/>
                  <a:t>Stochastic</a:t>
                </a:r>
                <a:r>
                  <a:rPr lang="de-DE" dirty="0"/>
                  <a:t> </a:t>
                </a:r>
                <a:r>
                  <a:rPr lang="de-DE" dirty="0" err="1"/>
                  <a:t>gradient</a:t>
                </a:r>
                <a:r>
                  <a:rPr lang="de-DE" dirty="0"/>
                  <a:t> </a:t>
                </a:r>
                <a:r>
                  <a:rPr lang="de-DE" dirty="0" err="1"/>
                  <a:t>decent</a:t>
                </a:r>
                <a:r>
                  <a:rPr lang="de-DE" dirty="0"/>
                  <a:t> (SGD);</a:t>
                </a:r>
                <a:br>
                  <a:rPr lang="de-DE" dirty="0"/>
                </a:br>
                <a:r>
                  <a:rPr lang="de-DE" dirty="0"/>
                  <a:t>Es wird zufällig ein Sample mi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de-DE" dirty="0"/>
                  <a:t> Elementen rausgesucht</a:t>
                </a:r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endParaRPr lang="de-DE" u="sng" dirty="0"/>
              </a:p>
              <a:p>
                <a:pPr marL="0" indent="0">
                  <a:buNone/>
                </a:pPr>
                <a:r>
                  <a:rPr lang="de-DE" u="sng" dirty="0"/>
                  <a:t>Vokabeln:</a:t>
                </a:r>
              </a:p>
              <a:p>
                <a:r>
                  <a:rPr lang="de-DE" u="sng" dirty="0"/>
                  <a:t>Mini Batch</a:t>
                </a:r>
                <a:r>
                  <a:rPr lang="de-DE" dirty="0"/>
                  <a:t>: n wird in Pakete geteilt</a:t>
                </a:r>
              </a:p>
              <a:p>
                <a:r>
                  <a:rPr lang="de-DE" u="sng" dirty="0"/>
                  <a:t>Epoche:</a:t>
                </a:r>
                <a:r>
                  <a:rPr lang="de-DE" dirty="0"/>
                  <a:t> kompletter Durchlauf aller Batches</a:t>
                </a:r>
                <a:endParaRPr lang="de-DE" u="sng" dirty="0"/>
              </a:p>
              <a:p>
                <a:endParaRPr lang="de-DE" dirty="0"/>
              </a:p>
            </p:txBody>
          </p:sp>
        </mc:Choice>
        <mc:Fallback>
          <p:sp>
            <p:nvSpPr>
              <p:cNvPr id="12" name="Textplatzhalter 1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7"/>
              </p:nvPr>
            </p:nvSpPr>
            <p:spPr>
              <a:blipFill>
                <a:blip r:embed="rId7"/>
                <a:stretch>
                  <a:fillRect l="-346" t="-3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platzhalter 12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Erläuterung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3</a:t>
            </a:fld>
            <a:endParaRPr lang="de-DE" alt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1199456" y="2636912"/>
            <a:ext cx="3240360" cy="158417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hteck 14"/>
              <p:cNvSpPr/>
              <p:nvPr/>
            </p:nvSpPr>
            <p:spPr>
              <a:xfrm>
                <a:off x="7407842" y="2307389"/>
                <a:ext cx="3880037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de-DE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𝜂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d>
                                <m:d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sSup>
                                    <m:sSupPr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𝑤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∗</m:t>
                              </m:r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5" name="Rechteck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07842" y="2307389"/>
                <a:ext cx="3880037" cy="848566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hteck 17"/>
              <p:cNvSpPr/>
              <p:nvPr/>
            </p:nvSpPr>
            <p:spPr>
              <a:xfrm>
                <a:off x="7174732" y="4088197"/>
                <a:ext cx="4239237" cy="81233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de-DE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𝜂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nary>
                        <m:naryPr>
                          <m:chr m:val="∑"/>
                          <m:supHide m:val="on"/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𝑠𝑎𝑚𝑝𝑙</m:t>
                          </m:r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  <m:sup/>
                        <m:e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d>
                                <m:d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sSup>
                                    <m:sSupPr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𝑤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∗</m:t>
                              </m:r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8" name="Rechteck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74732" y="4088197"/>
                <a:ext cx="4239237" cy="81233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014427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Bei einem mehrschichtigen neuronalen Netz muss der Gradient von jedem Gewicht ermittelt werden!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4</a:t>
            </a:fld>
            <a:endParaRPr lang="de-DE" alt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529" y="1427058"/>
            <a:ext cx="7975633" cy="446583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/>
              <p:cNvSpPr txBox="1"/>
              <p:nvPr/>
            </p:nvSpPr>
            <p:spPr>
              <a:xfrm>
                <a:off x="5041412" y="2413013"/>
                <a:ext cx="247888" cy="383182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10" name="Textfeld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41412" y="2413013"/>
                <a:ext cx="247888" cy="38318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feld 40"/>
              <p:cNvSpPr txBox="1"/>
              <p:nvPr/>
            </p:nvSpPr>
            <p:spPr>
              <a:xfrm>
                <a:off x="6518989" y="2413012"/>
                <a:ext cx="247888" cy="383182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41" name="Textfeld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8989" y="2413012"/>
                <a:ext cx="247888" cy="38318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/>
              <p:cNvSpPr txBox="1"/>
              <p:nvPr/>
            </p:nvSpPr>
            <p:spPr>
              <a:xfrm>
                <a:off x="8046518" y="3527786"/>
                <a:ext cx="247888" cy="374141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p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</m:sup>
                      </m:s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6518" y="3527786"/>
                <a:ext cx="247888" cy="37414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feld 42"/>
              <p:cNvSpPr txBox="1"/>
              <p:nvPr/>
            </p:nvSpPr>
            <p:spPr>
              <a:xfrm>
                <a:off x="6518988" y="4645261"/>
                <a:ext cx="247888" cy="384208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43" name="Textfeld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8988" y="4645261"/>
                <a:ext cx="247888" cy="38420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feld 43"/>
              <p:cNvSpPr txBox="1"/>
              <p:nvPr/>
            </p:nvSpPr>
            <p:spPr>
              <a:xfrm>
                <a:off x="6518988" y="3530701"/>
                <a:ext cx="247888" cy="383182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44" name="Textfeld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8988" y="3530701"/>
                <a:ext cx="247888" cy="38318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/>
              <p:cNvSpPr txBox="1"/>
              <p:nvPr/>
            </p:nvSpPr>
            <p:spPr>
              <a:xfrm>
                <a:off x="5034406" y="4645262"/>
                <a:ext cx="247888" cy="382605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45" name="Textfeld 4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4406" y="4645262"/>
                <a:ext cx="247888" cy="38260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/>
              <p:cNvSpPr txBox="1"/>
              <p:nvPr/>
            </p:nvSpPr>
            <p:spPr>
              <a:xfrm>
                <a:off x="5034405" y="5242440"/>
                <a:ext cx="247888" cy="412421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  <m:sup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46" name="Textfeld 4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4405" y="5242440"/>
                <a:ext cx="247888" cy="41242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feld 46"/>
              <p:cNvSpPr txBox="1"/>
              <p:nvPr/>
            </p:nvSpPr>
            <p:spPr>
              <a:xfrm>
                <a:off x="6492659" y="5221326"/>
                <a:ext cx="247888" cy="412421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  <m:sup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47" name="Textfeld 4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92659" y="5221326"/>
                <a:ext cx="247888" cy="412421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feld 47"/>
              <p:cNvSpPr txBox="1"/>
              <p:nvPr/>
            </p:nvSpPr>
            <p:spPr>
              <a:xfrm>
                <a:off x="5738386" y="4820277"/>
                <a:ext cx="355289" cy="384208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𝟑𝟒</m:t>
                          </m:r>
                        </m:sub>
                        <m:sup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48" name="Textfeld 4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8386" y="4820277"/>
                <a:ext cx="355289" cy="38420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feld 48"/>
              <p:cNvSpPr txBox="1"/>
              <p:nvPr/>
            </p:nvSpPr>
            <p:spPr>
              <a:xfrm>
                <a:off x="5507156" y="5339848"/>
                <a:ext cx="780085" cy="417678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4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𝒏𝒂𝒄𝒉</m:t>
                          </m:r>
                          <m:r>
                            <a:rPr lang="de-DE" sz="14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𝒗𝒐𝒏</m:t>
                          </m:r>
                        </m:sub>
                        <m:sup>
                          <m:r>
                            <a:rPr lang="de-DE" sz="14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𝑺𝒄𝒉𝒊𝒄𝒉𝒕</m:t>
                          </m:r>
                        </m:sup>
                      </m:sSubSup>
                    </m:oMath>
                  </m:oMathPara>
                </a14:m>
                <a:endParaRPr lang="de-DE" sz="14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9" name="Textfeld 4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7156" y="5339848"/>
                <a:ext cx="780085" cy="417678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feld 49"/>
              <p:cNvSpPr txBox="1"/>
              <p:nvPr/>
            </p:nvSpPr>
            <p:spPr>
              <a:xfrm>
                <a:off x="7759177" y="4357229"/>
                <a:ext cx="2129622" cy="778675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  <m:r>
                        <a:rPr lang="de-DE" sz="14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1400">
                              <a:latin typeface="Cambria Math" panose="02040503050406030204" pitchFamily="18" charset="0"/>
                            </a:rPr>
                            <m:t>j</m:t>
                          </m:r>
                        </m:sub>
                        <m:sup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  <m:r>
                        <a:rPr lang="de-DE" sz="1400" i="1">
                          <a:latin typeface="Cambria Math" panose="02040503050406030204" pitchFamily="18" charset="0"/>
                        </a:rPr>
                        <m:t>(</m:t>
                      </m:r>
                      <m:nary>
                        <m:naryPr>
                          <m:chr m:val="∑"/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400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/>
                        <m:e>
                          <m:sSubSup>
                            <m:sSubSupPr>
                              <m:ctrlPr>
                                <a:rPr lang="de-DE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𝑗𝑘</m:t>
                              </m:r>
                            </m:sub>
                            <m:sup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∙</m:t>
                          </m:r>
                          <m:sSubSup>
                            <m:sSubSupPr>
                              <m:ctrlPr>
                                <a:rPr lang="de-DE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bSup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sup>
                          </m:sSubSup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50" name="Textfeld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9177" y="4357229"/>
                <a:ext cx="2129622" cy="778675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Textfeld 51"/>
          <p:cNvSpPr txBox="1"/>
          <p:nvPr/>
        </p:nvSpPr>
        <p:spPr>
          <a:xfrm>
            <a:off x="7849545" y="4156996"/>
            <a:ext cx="1973617" cy="276999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dirty="0"/>
              <a:t>Aktivierung eines Neurons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7877985" y="5039585"/>
            <a:ext cx="2034531" cy="461665"/>
          </a:xfrm>
          <a:prstGeom prst="rect">
            <a:avLst/>
          </a:prstGeom>
          <a:ln w="28575"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dirty="0"/>
              <a:t>Matrixschreibweise für alle </a:t>
            </a:r>
            <a:br>
              <a:rPr lang="de-DE" sz="1200" dirty="0"/>
            </a:br>
            <a:r>
              <a:rPr lang="de-DE" sz="1200" dirty="0"/>
              <a:t>Neuronen einer Schich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feld 53"/>
              <p:cNvSpPr txBox="1"/>
              <p:nvPr/>
            </p:nvSpPr>
            <p:spPr>
              <a:xfrm>
                <a:off x="7949275" y="5550192"/>
                <a:ext cx="1937838" cy="404534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de-DE" sz="160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b="1" i="1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54" name="Textfeld 5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9275" y="5550192"/>
                <a:ext cx="1937838" cy="40453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9BC88EB6-E85A-4713-A313-FE7AD2822F69}"/>
                  </a:ext>
                </a:extLst>
              </p:cNvPr>
              <p:cNvSpPr txBox="1"/>
              <p:nvPr/>
            </p:nvSpPr>
            <p:spPr>
              <a:xfrm>
                <a:off x="4223792" y="1700808"/>
                <a:ext cx="355290" cy="397801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400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de-DE" sz="1400" b="1" i="1" smtClean="0">
                              <a:latin typeface="Cambria Math" panose="02040503050406030204" pitchFamily="18" charset="0"/>
                            </a:rPr>
                            <m:t>𝟏𝟏</m:t>
                          </m:r>
                        </m:sub>
                        <m:sup>
                          <m:r>
                            <a:rPr lang="de-DE" sz="1400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400" b="1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9BC88EB6-E85A-4713-A313-FE7AD2822F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3792" y="1700808"/>
                <a:ext cx="355290" cy="397801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56429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0893964-4033-4A53-8BEA-53D399AABB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er Backpropagation </a:t>
            </a:r>
            <a:r>
              <a:rPr lang="en-US" dirty="0" err="1"/>
              <a:t>Algorithmus</a:t>
            </a:r>
            <a:r>
              <a:rPr lang="en-US" dirty="0"/>
              <a:t> </a:t>
            </a:r>
            <a:r>
              <a:rPr lang="en-US" dirty="0" err="1"/>
              <a:t>nutzt</a:t>
            </a:r>
            <a:r>
              <a:rPr lang="en-US" dirty="0"/>
              <a:t> die </a:t>
            </a:r>
            <a:r>
              <a:rPr lang="en-US" dirty="0" err="1"/>
              <a:t>Kettenregel</a:t>
            </a:r>
            <a:r>
              <a:rPr lang="en-US" dirty="0"/>
              <a:t>, um die </a:t>
            </a:r>
            <a:r>
              <a:rPr lang="en-US" dirty="0" err="1"/>
              <a:t>Ableitung</a:t>
            </a:r>
            <a:r>
              <a:rPr lang="en-US" dirty="0"/>
              <a:t> der </a:t>
            </a:r>
            <a:r>
              <a:rPr lang="en-US" dirty="0" err="1"/>
              <a:t>Zielfunktion</a:t>
            </a:r>
            <a:r>
              <a:rPr lang="en-US" dirty="0"/>
              <a:t> von den </a:t>
            </a:r>
            <a:r>
              <a:rPr lang="en-US" dirty="0" err="1"/>
              <a:t>Variablen</a:t>
            </a:r>
            <a:r>
              <a:rPr lang="en-US" dirty="0"/>
              <a:t> (</a:t>
            </a:r>
            <a:r>
              <a:rPr lang="en-US" dirty="0" err="1"/>
              <a:t>Gewichte</a:t>
            </a:r>
            <a:r>
              <a:rPr lang="en-US" dirty="0"/>
              <a:t> w und Bias b) 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stimm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5C9125-E520-4392-A342-5F6C8D55816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86B2E8-7BDF-47AE-A0B3-07CB27D5293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B9F04D-E1BC-4A4A-AC79-13493FCA2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5</a:t>
            </a:fld>
            <a:endParaRPr lang="de-DE" alt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019C51-9F2D-4D53-ACB0-DC320A3EBF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Deep Learning </a:t>
            </a:r>
            <a:r>
              <a:rPr lang="de-DE" dirty="0" err="1"/>
              <a:t>with</a:t>
            </a:r>
            <a:r>
              <a:rPr lang="de-DE" dirty="0"/>
              <a:t> Python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F9E7EF2-4CFD-4E3D-A482-6961EDC030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25644" y="6181350"/>
            <a:ext cx="5088140" cy="121775"/>
          </a:xfrm>
        </p:spPr>
        <p:txBody>
          <a:bodyPr/>
          <a:lstStyle/>
          <a:p>
            <a:r>
              <a:rPr lang="de-DE" dirty="0"/>
              <a:t>Wenn es mehrere Pfade gibt, die die beiden interessierenden Knoten, a und b, in dem Rückwärtsgraphen gibt, erhalten wir grad(b, a) durch Summierung der  Beiträge aller Pfade.</a:t>
            </a:r>
          </a:p>
          <a:p>
            <a:endParaRPr lang="de-DE" dirty="0"/>
          </a:p>
        </p:txBody>
      </p: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F62D3645-55FA-4951-8E19-E6BC6E95FA59}"/>
              </a:ext>
            </a:extLst>
          </p:cNvPr>
          <p:cNvGrpSpPr/>
          <p:nvPr/>
        </p:nvGrpSpPr>
        <p:grpSpPr>
          <a:xfrm>
            <a:off x="501930" y="1594774"/>
            <a:ext cx="3311205" cy="4564265"/>
            <a:chOff x="786936" y="1606028"/>
            <a:chExt cx="3947190" cy="4564265"/>
          </a:xfrm>
        </p:grpSpPr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009540F8-A0EA-4073-94D4-6BC96DC6A43E}"/>
                </a:ext>
              </a:extLst>
            </p:cNvPr>
            <p:cNvCxnSpPr>
              <a:cxnSpLocks/>
              <a:stCxn id="17" idx="6"/>
              <a:endCxn id="8" idx="1"/>
            </p:cNvCxnSpPr>
            <p:nvPr/>
          </p:nvCxnSpPr>
          <p:spPr>
            <a:xfrm flipV="1">
              <a:off x="1836801" y="2885349"/>
              <a:ext cx="418772" cy="53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19F4C6F9-1B63-4E76-BE18-044F6A418102}"/>
                </a:ext>
              </a:extLst>
            </p:cNvPr>
            <p:cNvSpPr/>
            <p:nvPr/>
          </p:nvSpPr>
          <p:spPr>
            <a:xfrm>
              <a:off x="1035193" y="2669483"/>
              <a:ext cx="801608" cy="432792"/>
            </a:xfrm>
            <a:prstGeom prst="ellipse">
              <a:avLst/>
            </a:prstGeom>
            <a:ln w="38100"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w</a:t>
              </a:r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3F699C2E-018E-466E-9F41-F9BDD6E27CF3}"/>
                </a:ext>
              </a:extLst>
            </p:cNvPr>
            <p:cNvSpPr/>
            <p:nvPr/>
          </p:nvSpPr>
          <p:spPr>
            <a:xfrm>
              <a:off x="1063454" y="3920437"/>
              <a:ext cx="801608" cy="432792"/>
            </a:xfrm>
            <a:prstGeom prst="ellipse">
              <a:avLst/>
            </a:prstGeom>
            <a:ln w="38100"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b</a:t>
              </a:r>
            </a:p>
          </p:txBody>
        </p:sp>
        <p:cxnSp>
          <p:nvCxnSpPr>
            <p:cNvPr id="20" name="Gerade Verbindung mit Pfeil 19">
              <a:extLst>
                <a:ext uri="{FF2B5EF4-FFF2-40B4-BE49-F238E27FC236}">
                  <a16:creationId xmlns:a16="http://schemas.microsoft.com/office/drawing/2014/main" id="{DA9DD0F9-13B2-46D6-8D3A-42C67AAC79FA}"/>
                </a:ext>
              </a:extLst>
            </p:cNvPr>
            <p:cNvCxnSpPr>
              <a:cxnSpLocks/>
              <a:stCxn id="18" idx="6"/>
              <a:endCxn id="10" idx="1"/>
            </p:cNvCxnSpPr>
            <p:nvPr/>
          </p:nvCxnSpPr>
          <p:spPr>
            <a:xfrm>
              <a:off x="1865062" y="4136833"/>
              <a:ext cx="390511" cy="3704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CC2599F6-E597-416B-BB2F-ACA2C4917FAD}"/>
                </a:ext>
              </a:extLst>
            </p:cNvPr>
            <p:cNvGrpSpPr/>
            <p:nvPr/>
          </p:nvGrpSpPr>
          <p:grpSpPr>
            <a:xfrm>
              <a:off x="2255573" y="2543349"/>
              <a:ext cx="2158088" cy="3167013"/>
              <a:chOff x="2255573" y="2636912"/>
              <a:chExt cx="2158088" cy="2663481"/>
            </a:xfrm>
          </p:grpSpPr>
          <p:sp>
            <p:nvSpPr>
              <p:cNvPr id="8" name="Rechteck: abgerundete Ecken 7">
                <a:extLst>
                  <a:ext uri="{FF2B5EF4-FFF2-40B4-BE49-F238E27FC236}">
                    <a16:creationId xmlns:a16="http://schemas.microsoft.com/office/drawing/2014/main" id="{994F6D77-1DA1-4D3B-8B7B-ED66DA51841F}"/>
                  </a:ext>
                </a:extLst>
              </p:cNvPr>
              <p:cNvSpPr/>
              <p:nvPr/>
            </p:nvSpPr>
            <p:spPr>
              <a:xfrm>
                <a:off x="2255573" y="2636912"/>
                <a:ext cx="2158088" cy="575249"/>
              </a:xfrm>
              <a:prstGeom prst="roundRect">
                <a:avLst/>
              </a:prstGeom>
              <a:ln w="38100">
                <a:solidFill>
                  <a:schemeClr val="bg1">
                    <a:lumMod val="50000"/>
                  </a:schemeClr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de-DE" sz="1400" dirty="0"/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" name="Textfeld 8">
                    <a:extLst>
                      <a:ext uri="{FF2B5EF4-FFF2-40B4-BE49-F238E27FC236}">
                        <a16:creationId xmlns:a16="http://schemas.microsoft.com/office/drawing/2014/main" id="{B998C1F6-125E-4CB0-8DCD-85180402BE08}"/>
                      </a:ext>
                    </a:extLst>
                  </p:cNvPr>
                  <p:cNvSpPr txBox="1"/>
                  <p:nvPr/>
                </p:nvSpPr>
                <p:spPr>
                  <a:xfrm>
                    <a:off x="2460871" y="2644284"/>
                    <a:ext cx="1764136" cy="672990"/>
                  </a:xfrm>
                  <a:prstGeom prst="rect">
                    <a:avLst/>
                  </a:prstGeom>
                  <a:ln w="28575"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>
                      <a:spcAft>
                        <a:spcPts val="1200"/>
                      </a:spcAft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oMath>
                      </m:oMathPara>
                    </a14:m>
                    <a:endParaRPr lang="de-DE" sz="1600" b="0" i="1" dirty="0">
                      <a:latin typeface="Cambria Math" panose="02040503050406030204" pitchFamily="18" charset="0"/>
                    </a:endParaRPr>
                  </a:p>
                  <a:p>
                    <a:pPr>
                      <a:spcAft>
                        <a:spcPts val="1200"/>
                      </a:spcAft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oMath>
                      </m:oMathPara>
                    </a14:m>
                    <a:endParaRPr lang="de-DE" sz="1600" dirty="0"/>
                  </a:p>
                </p:txBody>
              </p:sp>
            </mc:Choice>
            <mc:Fallback xmlns="">
              <p:sp>
                <p:nvSpPr>
                  <p:cNvPr id="9" name="Textfeld 8">
                    <a:extLst>
                      <a:ext uri="{FF2B5EF4-FFF2-40B4-BE49-F238E27FC236}">
                        <a16:creationId xmlns:a16="http://schemas.microsoft.com/office/drawing/2014/main" id="{B998C1F6-125E-4CB0-8DCD-85180402BE0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460871" y="2644284"/>
                    <a:ext cx="1764136" cy="672990"/>
                  </a:xfrm>
                  <a:prstGeom prst="rect">
                    <a:avLst/>
                  </a:prstGeom>
                  <a:blipFill>
                    <a:blip r:embed="rId2"/>
                    <a:stretch>
                      <a:fillRect/>
                    </a:stretch>
                  </a:blipFill>
                  <a:ln w="28575"/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0" name="Rechteck: abgerundete Ecken 9">
                <a:extLst>
                  <a:ext uri="{FF2B5EF4-FFF2-40B4-BE49-F238E27FC236}">
                    <a16:creationId xmlns:a16="http://schemas.microsoft.com/office/drawing/2014/main" id="{34A41D45-72C9-4707-BD7F-48958AC4931A}"/>
                  </a:ext>
                </a:extLst>
              </p:cNvPr>
              <p:cNvSpPr/>
              <p:nvPr/>
            </p:nvSpPr>
            <p:spPr>
              <a:xfrm>
                <a:off x="2255573" y="3692534"/>
                <a:ext cx="2158088" cy="575249"/>
              </a:xfrm>
              <a:prstGeom prst="roundRect">
                <a:avLst/>
              </a:prstGeom>
              <a:ln w="38100">
                <a:solidFill>
                  <a:schemeClr val="bg1">
                    <a:lumMod val="50000"/>
                  </a:schemeClr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de-DE" sz="1400" dirty="0"/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" name="Textfeld 10">
                    <a:extLst>
                      <a:ext uri="{FF2B5EF4-FFF2-40B4-BE49-F238E27FC236}">
                        <a16:creationId xmlns:a16="http://schemas.microsoft.com/office/drawing/2014/main" id="{DE5D4EB0-5812-4E53-BC8E-EFE8E7D69D57}"/>
                      </a:ext>
                    </a:extLst>
                  </p:cNvPr>
                  <p:cNvSpPr txBox="1"/>
                  <p:nvPr/>
                </p:nvSpPr>
                <p:spPr>
                  <a:xfrm>
                    <a:off x="2431551" y="3690823"/>
                    <a:ext cx="1616981" cy="688952"/>
                  </a:xfrm>
                  <a:prstGeom prst="rect">
                    <a:avLst/>
                  </a:prstGeom>
                  <a:ln w="28575"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>
                      <a:spcAft>
                        <a:spcPts val="1200"/>
                      </a:spcAft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𝑝𝑟𝑒𝑑</m:t>
                              </m:r>
                            </m:sub>
                          </m:sSub>
                        </m:oMath>
                      </m:oMathPara>
                    </a14:m>
                    <a:endParaRPr lang="de-DE" sz="1600" b="0" i="1" dirty="0">
                      <a:latin typeface="Cambria Math" panose="02040503050406030204" pitchFamily="18" charset="0"/>
                    </a:endParaRPr>
                  </a:p>
                  <a:p>
                    <a:pPr>
                      <a:spcAft>
                        <a:spcPts val="1200"/>
                      </a:spcAft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oMath>
                      </m:oMathPara>
                    </a14:m>
                    <a:endParaRPr lang="de-DE" sz="1600" dirty="0"/>
                  </a:p>
                </p:txBody>
              </p:sp>
            </mc:Choice>
            <mc:Fallback xmlns="">
              <p:sp>
                <p:nvSpPr>
                  <p:cNvPr id="11" name="Textfeld 10">
                    <a:extLst>
                      <a:ext uri="{FF2B5EF4-FFF2-40B4-BE49-F238E27FC236}">
                        <a16:creationId xmlns:a16="http://schemas.microsoft.com/office/drawing/2014/main" id="{DE5D4EB0-5812-4E53-BC8E-EFE8E7D69D57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431551" y="3690823"/>
                    <a:ext cx="1616981" cy="688952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l="-450" r="-13063"/>
                    </a:stretch>
                  </a:blipFill>
                  <a:ln w="28575"/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2" name="Rechteck: abgerundete Ecken 11">
                <a:extLst>
                  <a:ext uri="{FF2B5EF4-FFF2-40B4-BE49-F238E27FC236}">
                    <a16:creationId xmlns:a16="http://schemas.microsoft.com/office/drawing/2014/main" id="{7D3FF55C-F7D3-4614-A041-526EE40A579F}"/>
                  </a:ext>
                </a:extLst>
              </p:cNvPr>
              <p:cNvSpPr/>
              <p:nvPr/>
            </p:nvSpPr>
            <p:spPr>
              <a:xfrm>
                <a:off x="2255573" y="4725144"/>
                <a:ext cx="2158088" cy="575249"/>
              </a:xfrm>
              <a:prstGeom prst="roundRect">
                <a:avLst/>
              </a:prstGeom>
              <a:ln w="38100">
                <a:solidFill>
                  <a:schemeClr val="bg1">
                    <a:lumMod val="50000"/>
                  </a:schemeClr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de-DE" sz="1400" dirty="0"/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" name="Textfeld 12">
                    <a:extLst>
                      <a:ext uri="{FF2B5EF4-FFF2-40B4-BE49-F238E27FC236}">
                        <a16:creationId xmlns:a16="http://schemas.microsoft.com/office/drawing/2014/main" id="{FCDEA8FB-FE51-4DA6-A69A-D4E5D313A3BC}"/>
                      </a:ext>
                    </a:extLst>
                  </p:cNvPr>
                  <p:cNvSpPr txBox="1"/>
                  <p:nvPr/>
                </p:nvSpPr>
                <p:spPr>
                  <a:xfrm>
                    <a:off x="2358987" y="4805844"/>
                    <a:ext cx="2040227" cy="460901"/>
                  </a:xfrm>
                  <a:prstGeom prst="rect">
                    <a:avLst/>
                  </a:prstGeom>
                  <a:ln w="28575"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>
                      <a:spcAft>
                        <a:spcPts val="1200"/>
                      </a:spcAft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𝑝𝑟𝑒𝑑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𝑡𝑟𝑢𝑒</m:t>
                              </m:r>
                            </m:sub>
                          </m:sSub>
                          <m:r>
                            <a:rPr lang="de-DE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𝑝𝑟𝑒𝑑</m:t>
                              </m:r>
                            </m:sub>
                          </m:sSub>
                        </m:oMath>
                      </m:oMathPara>
                    </a14:m>
                    <a:endParaRPr lang="de-DE" sz="1600" dirty="0"/>
                  </a:p>
                </p:txBody>
              </p:sp>
            </mc:Choice>
            <mc:Fallback xmlns="">
              <p:sp>
                <p:nvSpPr>
                  <p:cNvPr id="13" name="Textfeld 12">
                    <a:extLst>
                      <a:ext uri="{FF2B5EF4-FFF2-40B4-BE49-F238E27FC236}">
                        <a16:creationId xmlns:a16="http://schemas.microsoft.com/office/drawing/2014/main" id="{FCDEA8FB-FE51-4DA6-A69A-D4E5D313A3BC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358987" y="4805844"/>
                    <a:ext cx="2040227" cy="460901"/>
                  </a:xfrm>
                  <a:prstGeom prst="rect">
                    <a:avLst/>
                  </a:prstGeom>
                  <a:blipFill>
                    <a:blip r:embed="rId4"/>
                    <a:stretch>
                      <a:fillRect b="-12222"/>
                    </a:stretch>
                  </a:blipFill>
                  <a:ln w="28575"/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22" name="Gerade Verbindung mit Pfeil 21">
                <a:extLst>
                  <a:ext uri="{FF2B5EF4-FFF2-40B4-BE49-F238E27FC236}">
                    <a16:creationId xmlns:a16="http://schemas.microsoft.com/office/drawing/2014/main" id="{4E7A5A95-64DB-41BC-9E7A-3AC00886A7C5}"/>
                  </a:ext>
                </a:extLst>
              </p:cNvPr>
              <p:cNvCxnSpPr>
                <a:cxnSpLocks/>
                <a:stCxn id="8" idx="2"/>
                <a:endCxn id="10" idx="0"/>
              </p:cNvCxnSpPr>
              <p:nvPr/>
            </p:nvCxnSpPr>
            <p:spPr>
              <a:xfrm>
                <a:off x="3334617" y="3212161"/>
                <a:ext cx="0" cy="480373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mit Pfeil 28">
                <a:extLst>
                  <a:ext uri="{FF2B5EF4-FFF2-40B4-BE49-F238E27FC236}">
                    <a16:creationId xmlns:a16="http://schemas.microsoft.com/office/drawing/2014/main" id="{D3B1D0BA-64B6-49D1-A326-DDA619ED80AD}"/>
                  </a:ext>
                </a:extLst>
              </p:cNvPr>
              <p:cNvCxnSpPr>
                <a:cxnSpLocks/>
                <a:stCxn id="10" idx="2"/>
                <a:endCxn id="12" idx="0"/>
              </p:cNvCxnSpPr>
              <p:nvPr/>
            </p:nvCxnSpPr>
            <p:spPr>
              <a:xfrm>
                <a:off x="3334617" y="4267783"/>
                <a:ext cx="0" cy="457361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035C86C6-164E-418A-9703-9B646FF99747}"/>
                </a:ext>
              </a:extLst>
            </p:cNvPr>
            <p:cNvSpPr/>
            <p:nvPr/>
          </p:nvSpPr>
          <p:spPr>
            <a:xfrm>
              <a:off x="2757579" y="1867397"/>
              <a:ext cx="1150188" cy="432792"/>
            </a:xfrm>
            <a:prstGeom prst="ellipse">
              <a:avLst/>
            </a:prstGeom>
            <a:ln w="38100">
              <a:solidFill>
                <a:srgbClr val="0070C0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Input</a:t>
              </a:r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D9C63890-8432-4292-9FBB-8F4067D54683}"/>
                </a:ext>
              </a:extLst>
            </p:cNvPr>
            <p:cNvCxnSpPr>
              <a:cxnSpLocks/>
              <a:stCxn id="32" idx="4"/>
              <a:endCxn id="8" idx="0"/>
            </p:cNvCxnSpPr>
            <p:nvPr/>
          </p:nvCxnSpPr>
          <p:spPr>
            <a:xfrm>
              <a:off x="3332673" y="2300189"/>
              <a:ext cx="1944" cy="24316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EA532633-022E-4207-BB81-505F876B7D0F}"/>
                </a:ext>
              </a:extLst>
            </p:cNvPr>
            <p:cNvSpPr/>
            <p:nvPr/>
          </p:nvSpPr>
          <p:spPr>
            <a:xfrm>
              <a:off x="3566935" y="1715851"/>
              <a:ext cx="481597" cy="43279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2</a:t>
              </a: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ADE52365-1B7F-449A-B832-507CD113C49C}"/>
                </a:ext>
              </a:extLst>
            </p:cNvPr>
            <p:cNvSpPr/>
            <p:nvPr/>
          </p:nvSpPr>
          <p:spPr>
            <a:xfrm>
              <a:off x="786937" y="2400306"/>
              <a:ext cx="481597" cy="43279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3</a:t>
              </a: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E020963A-336B-4D97-88AD-48D66E768BD2}"/>
                </a:ext>
              </a:extLst>
            </p:cNvPr>
            <p:cNvSpPr/>
            <p:nvPr/>
          </p:nvSpPr>
          <p:spPr>
            <a:xfrm>
              <a:off x="832618" y="3678070"/>
              <a:ext cx="481597" cy="43279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1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Ellipse 41">
                  <a:extLst>
                    <a:ext uri="{FF2B5EF4-FFF2-40B4-BE49-F238E27FC236}">
                      <a16:creationId xmlns:a16="http://schemas.microsoft.com/office/drawing/2014/main" id="{EB44CEBD-0473-40A2-BBAF-17AFABE3F460}"/>
                    </a:ext>
                  </a:extLst>
                </p:cNvPr>
                <p:cNvSpPr/>
                <p:nvPr/>
              </p:nvSpPr>
              <p:spPr>
                <a:xfrm>
                  <a:off x="1117928" y="5156448"/>
                  <a:ext cx="801608" cy="432792"/>
                </a:xfrm>
                <a:prstGeom prst="ellipse">
                  <a:avLst/>
                </a:prstGeom>
                <a:ln w="38100">
                  <a:solidFill>
                    <a:srgbClr val="0070C0"/>
                  </a:solidFill>
                </a:ln>
              </p:spPr>
              <p:txBody>
                <a:bodyPr wrap="square" rtlCol="0" anchor="ctr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𝑡𝑟𝑢𝑒</m:t>
                            </m:r>
                          </m:sub>
                        </m:sSub>
                      </m:oMath>
                    </m:oMathPara>
                  </a14:m>
                  <a:endParaRPr lang="de-DE" sz="1400" dirty="0"/>
                </a:p>
              </p:txBody>
            </p:sp>
          </mc:Choice>
          <mc:Fallback xmlns="">
            <p:sp>
              <p:nvSpPr>
                <p:cNvPr id="42" name="Ellipse 41">
                  <a:extLst>
                    <a:ext uri="{FF2B5EF4-FFF2-40B4-BE49-F238E27FC236}">
                      <a16:creationId xmlns:a16="http://schemas.microsoft.com/office/drawing/2014/main" id="{EB44CEBD-0473-40A2-BBAF-17AFABE3F46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17928" y="5156448"/>
                  <a:ext cx="801608" cy="432792"/>
                </a:xfrm>
                <a:prstGeom prst="ellipse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 w="38100">
                  <a:solidFill>
                    <a:srgbClr val="0070C0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43" name="Gerade Verbindung mit Pfeil 42">
              <a:extLst>
                <a:ext uri="{FF2B5EF4-FFF2-40B4-BE49-F238E27FC236}">
                  <a16:creationId xmlns:a16="http://schemas.microsoft.com/office/drawing/2014/main" id="{EBA851E0-9BA3-4FC0-9920-D3157D983402}"/>
                </a:ext>
              </a:extLst>
            </p:cNvPr>
            <p:cNvCxnSpPr>
              <a:cxnSpLocks/>
              <a:stCxn id="42" idx="6"/>
              <a:endCxn id="12" idx="1"/>
            </p:cNvCxnSpPr>
            <p:nvPr/>
          </p:nvCxnSpPr>
          <p:spPr>
            <a:xfrm flipV="1">
              <a:off x="1919536" y="5368362"/>
              <a:ext cx="336037" cy="4482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8" name="Rechteck 57">
                  <a:extLst>
                    <a:ext uri="{FF2B5EF4-FFF2-40B4-BE49-F238E27FC236}">
                      <a16:creationId xmlns:a16="http://schemas.microsoft.com/office/drawing/2014/main" id="{49002B81-6586-4446-9554-E6DBEF8FE5B8}"/>
                    </a:ext>
                  </a:extLst>
                </p:cNvPr>
                <p:cNvSpPr/>
                <p:nvPr/>
              </p:nvSpPr>
              <p:spPr>
                <a:xfrm>
                  <a:off x="3403925" y="5800961"/>
                  <a:ext cx="1093504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latin typeface="Cambria Math" panose="02040503050406030204" pitchFamily="18" charset="0"/>
                          </a:rPr>
                          <m:t>𝑙𝑜𝑠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=3</m:t>
                        </m:r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58" name="Rechteck 57">
                  <a:extLst>
                    <a:ext uri="{FF2B5EF4-FFF2-40B4-BE49-F238E27FC236}">
                      <a16:creationId xmlns:a16="http://schemas.microsoft.com/office/drawing/2014/main" id="{49002B81-6586-4446-9554-E6DBEF8FE5B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403925" y="5800961"/>
                  <a:ext cx="1093504" cy="369332"/>
                </a:xfrm>
                <a:prstGeom prst="rect">
                  <a:avLst/>
                </a:prstGeom>
                <a:blipFill>
                  <a:blip r:embed="rId6"/>
                  <a:stretch>
                    <a:fillRect r="-9934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Rechteck 58">
                  <a:extLst>
                    <a:ext uri="{FF2B5EF4-FFF2-40B4-BE49-F238E27FC236}">
                      <a16:creationId xmlns:a16="http://schemas.microsoft.com/office/drawing/2014/main" id="{B221DD7D-1E4A-400E-B74E-C2D8432E9786}"/>
                    </a:ext>
                  </a:extLst>
                </p:cNvPr>
                <p:cNvSpPr/>
                <p:nvPr/>
              </p:nvSpPr>
              <p:spPr>
                <a:xfrm>
                  <a:off x="3291172" y="4569783"/>
                  <a:ext cx="1442954" cy="39074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𝑝𝑟𝑒𝑑</m:t>
                            </m:r>
                          </m:sub>
                        </m:s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=7</m:t>
                        </m:r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59" name="Rechteck 58">
                  <a:extLst>
                    <a:ext uri="{FF2B5EF4-FFF2-40B4-BE49-F238E27FC236}">
                      <a16:creationId xmlns:a16="http://schemas.microsoft.com/office/drawing/2014/main" id="{B221DD7D-1E4A-400E-B74E-C2D8432E978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291172" y="4569783"/>
                  <a:ext cx="1442954" cy="390748"/>
                </a:xfrm>
                <a:prstGeom prst="rect">
                  <a:avLst/>
                </a:prstGeom>
                <a:blipFill>
                  <a:blip r:embed="rId7"/>
                  <a:stretch>
                    <a:fillRect b="-781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0" name="Rechteck 59">
                  <a:extLst>
                    <a:ext uri="{FF2B5EF4-FFF2-40B4-BE49-F238E27FC236}">
                      <a16:creationId xmlns:a16="http://schemas.microsoft.com/office/drawing/2014/main" id="{AF12011C-D6A6-402C-9437-A5A463791F2F}"/>
                    </a:ext>
                  </a:extLst>
                </p:cNvPr>
                <p:cNvSpPr/>
                <p:nvPr/>
              </p:nvSpPr>
              <p:spPr>
                <a:xfrm>
                  <a:off x="3746533" y="3297721"/>
                  <a:ext cx="901593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=6</m:t>
                        </m:r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60" name="Rechteck 59">
                  <a:extLst>
                    <a:ext uri="{FF2B5EF4-FFF2-40B4-BE49-F238E27FC236}">
                      <a16:creationId xmlns:a16="http://schemas.microsoft.com/office/drawing/2014/main" id="{AF12011C-D6A6-402C-9437-A5A463791F2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46533" y="3297721"/>
                  <a:ext cx="901593" cy="369332"/>
                </a:xfrm>
                <a:prstGeom prst="rect">
                  <a:avLst/>
                </a:prstGeom>
                <a:blipFill>
                  <a:blip r:embed="rId8"/>
                  <a:stretch>
                    <a:fillRect r="-806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B9482A6C-9EEE-4AEE-B0CF-A94F7E170CE4}"/>
                </a:ext>
              </a:extLst>
            </p:cNvPr>
            <p:cNvSpPr txBox="1"/>
            <p:nvPr/>
          </p:nvSpPr>
          <p:spPr>
            <a:xfrm>
              <a:off x="1255759" y="1606028"/>
              <a:ext cx="1218602" cy="276999"/>
            </a:xfrm>
            <a:prstGeom prst="rect">
              <a:avLst/>
            </a:prstGeom>
            <a:ln w="28575"/>
          </p:spPr>
          <p:txBody>
            <a:bodyPr wrap="none" rtlCol="0">
              <a:spAutoFit/>
            </a:bodyPr>
            <a:lstStyle/>
            <a:p>
              <a:pPr marL="0" indent="0" algn="l">
                <a:spcAft>
                  <a:spcPts val="1200"/>
                </a:spcAft>
                <a:buNone/>
              </a:pPr>
              <a:r>
                <a:rPr lang="de-DE" sz="1200" dirty="0"/>
                <a:t>Forward Pass: </a:t>
              </a: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DA016F6F-CA06-487C-8B2D-B46D92991105}"/>
                </a:ext>
              </a:extLst>
            </p:cNvPr>
            <p:cNvSpPr/>
            <p:nvPr/>
          </p:nvSpPr>
          <p:spPr>
            <a:xfrm>
              <a:off x="786936" y="4940052"/>
              <a:ext cx="481597" cy="43279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4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D571E7FD-460F-4DBB-BD8A-D13E648E5C2B}"/>
                  </a:ext>
                </a:extLst>
              </p:cNvPr>
              <p:cNvSpPr txBox="1"/>
              <p:nvPr/>
            </p:nvSpPr>
            <p:spPr>
              <a:xfrm>
                <a:off x="8553344" y="3411514"/>
                <a:ext cx="2880466" cy="994055"/>
              </a:xfrm>
              <a:prstGeom prst="rect">
                <a:avLst/>
              </a:prstGeom>
              <a:ln w="28575">
                <a:solidFill>
                  <a:srgbClr val="FF0000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br>
                  <a:rPr lang="de-DE" i="1" dirty="0">
                    <a:latin typeface="Cambria Math" panose="02040503050406030204" pitchFamily="18" charset="0"/>
                  </a:rPr>
                </a:br>
                <a:r>
                  <a:rPr lang="de-DE" i="1" dirty="0">
                    <a:latin typeface="Cambria Math" panose="02040503050406030204" pitchFamily="18" charset="0"/>
                  </a:rPr>
                  <a:t>      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𝑜𝑠𝑠</m:t>
                        </m:r>
                      </m:num>
                      <m:den>
                        <m:r>
                          <a:rPr lang="de-D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den>
                    </m:f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</m:t>
                        </m:r>
                      </m:den>
                    </m:f>
                  </m:oMath>
                </a14:m>
                <a:r>
                  <a:rPr lang="de-DE" dirty="0"/>
                  <a:t>   </a:t>
                </a:r>
                <a:br>
                  <a:rPr lang="de-DE" dirty="0"/>
                </a:br>
                <a:endParaRPr lang="de-DE" dirty="0"/>
              </a:p>
            </p:txBody>
          </p:sp>
        </mc:Choice>
        <mc:Fallback xmlns=""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D571E7FD-460F-4DBB-BD8A-D13E648E5C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53344" y="3411514"/>
                <a:ext cx="2880466" cy="994055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 w="28575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3" name="Rechteck 92">
            <a:extLst>
              <a:ext uri="{FF2B5EF4-FFF2-40B4-BE49-F238E27FC236}">
                <a16:creationId xmlns:a16="http://schemas.microsoft.com/office/drawing/2014/main" id="{D1F14D09-1F05-4AAE-A620-0DF649AEFEAF}"/>
              </a:ext>
            </a:extLst>
          </p:cNvPr>
          <p:cNvSpPr/>
          <p:nvPr/>
        </p:nvSpPr>
        <p:spPr>
          <a:xfrm>
            <a:off x="8655427" y="1439808"/>
            <a:ext cx="283295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 dirty="0"/>
              <a:t>Zur Bestimmung des Beitrag von w und b zur Verlustfunktion wird die </a:t>
            </a:r>
            <a:r>
              <a:rPr lang="de-DE" sz="1200" u="sng" dirty="0"/>
              <a:t>Kettenregel</a:t>
            </a:r>
            <a:r>
              <a:rPr lang="de-DE" sz="1200" dirty="0"/>
              <a:t> eingesetzt:</a:t>
            </a:r>
          </a:p>
          <a:p>
            <a:pPr algn="ctr"/>
            <a:endParaRPr lang="de-DE" sz="1200" dirty="0"/>
          </a:p>
          <a:p>
            <a:pPr algn="ctr"/>
            <a:r>
              <a:rPr lang="de-DE" sz="1200" dirty="0"/>
              <a:t>Multiplikation der Ableitungen der einzelnen verschachtelten </a:t>
            </a:r>
            <a:r>
              <a:rPr lang="de-DE" sz="1200" dirty="0" err="1"/>
              <a:t>Tensoroperationen</a:t>
            </a:r>
            <a:r>
              <a:rPr lang="de-DE" sz="1200" dirty="0"/>
              <a:t> entlang des “rückwärtigen Pfades” (Backpropagation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5A5C4451-0FB8-4738-98A5-52DFBDDEBDCD}"/>
                  </a:ext>
                </a:extLst>
              </p:cNvPr>
              <p:cNvSpPr txBox="1"/>
              <p:nvPr/>
            </p:nvSpPr>
            <p:spPr>
              <a:xfrm>
                <a:off x="8531852" y="4670491"/>
                <a:ext cx="2901959" cy="961225"/>
              </a:xfrm>
              <a:prstGeom prst="rect">
                <a:avLst/>
              </a:prstGeom>
              <a:ln w="28575">
                <a:solidFill>
                  <a:srgbClr val="FF0000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br>
                  <a:rPr lang="de-DE" i="1" dirty="0">
                    <a:latin typeface="Cambria Math" panose="02040503050406030204" pitchFamily="18" charset="0"/>
                  </a:rPr>
                </a:br>
                <a:r>
                  <a:rPr lang="de-DE" i="1" dirty="0">
                    <a:latin typeface="Cambria Math" panose="02040503050406030204" pitchFamily="18" charset="0"/>
                  </a:rPr>
                  <a:t> 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𝑜𝑠𝑠</m:t>
                        </m:r>
                      </m:num>
                      <m:den>
                        <m:r>
                          <a:rPr lang="de-D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𝜕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𝑤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</a:rPr>
                      <m:t>2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de-DE" dirty="0"/>
                  <a:t>   </a:t>
                </a:r>
                <a:br>
                  <a:rPr lang="de-DE" dirty="0"/>
                </a:br>
                <a:endParaRPr lang="de-DE" dirty="0"/>
              </a:p>
            </p:txBody>
          </p:sp>
        </mc:Choice>
        <mc:Fallback xmlns=""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5A5C4451-0FB8-4738-98A5-52DFBDDEBD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31852" y="4670491"/>
                <a:ext cx="2901959" cy="961225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 w="28575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CC4142C-C102-4435-BAA8-A651CAA00A88}"/>
              </a:ext>
            </a:extLst>
          </p:cNvPr>
          <p:cNvGrpSpPr/>
          <p:nvPr/>
        </p:nvGrpSpPr>
        <p:grpSpPr>
          <a:xfrm>
            <a:off x="4134449" y="1612291"/>
            <a:ext cx="3932291" cy="4034037"/>
            <a:chOff x="4134449" y="1612291"/>
            <a:chExt cx="3932291" cy="4034037"/>
          </a:xfrm>
        </p:grpSpPr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F4B7CD8B-4725-4372-9212-56640FE549D8}"/>
                </a:ext>
              </a:extLst>
            </p:cNvPr>
            <p:cNvSpPr txBox="1"/>
            <p:nvPr/>
          </p:nvSpPr>
          <p:spPr>
            <a:xfrm>
              <a:off x="4172053" y="1612291"/>
              <a:ext cx="1242648" cy="276999"/>
            </a:xfrm>
            <a:prstGeom prst="rect">
              <a:avLst/>
            </a:prstGeom>
            <a:ln w="28575"/>
          </p:spPr>
          <p:txBody>
            <a:bodyPr wrap="none" rtlCol="0">
              <a:spAutoFit/>
            </a:bodyPr>
            <a:lstStyle/>
            <a:p>
              <a:pPr marL="0" indent="0" algn="l">
                <a:spcAft>
                  <a:spcPts val="1200"/>
                </a:spcAft>
                <a:buNone/>
              </a:pPr>
              <a:r>
                <a:rPr lang="de-DE" sz="1200" dirty="0" err="1"/>
                <a:t>Backward</a:t>
              </a:r>
              <a:r>
                <a:rPr lang="de-DE" sz="1200" dirty="0"/>
                <a:t> Pass</a:t>
              </a:r>
            </a:p>
          </p:txBody>
        </p:sp>
        <p:cxnSp>
          <p:nvCxnSpPr>
            <p:cNvPr id="65" name="Gerade Verbindung mit Pfeil 64">
              <a:extLst>
                <a:ext uri="{FF2B5EF4-FFF2-40B4-BE49-F238E27FC236}">
                  <a16:creationId xmlns:a16="http://schemas.microsoft.com/office/drawing/2014/main" id="{6F45D12B-0294-4FF4-AF75-3565DEC1E02C}"/>
                </a:ext>
              </a:extLst>
            </p:cNvPr>
            <p:cNvCxnSpPr>
              <a:cxnSpLocks/>
              <a:stCxn id="66" idx="6"/>
              <a:endCxn id="70" idx="1"/>
            </p:cNvCxnSpPr>
            <p:nvPr/>
          </p:nvCxnSpPr>
          <p:spPr>
            <a:xfrm flipV="1">
              <a:off x="5184314" y="2821314"/>
              <a:ext cx="724338" cy="530"/>
            </a:xfrm>
            <a:prstGeom prst="straightConnector1">
              <a:avLst/>
            </a:prstGeom>
            <a:ln w="38100">
              <a:solidFill>
                <a:srgbClr val="FF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19924ABA-4A78-4FC2-9EE5-2B3DA17B9669}"/>
                </a:ext>
              </a:extLst>
            </p:cNvPr>
            <p:cNvSpPr/>
            <p:nvPr/>
          </p:nvSpPr>
          <p:spPr>
            <a:xfrm>
              <a:off x="4382706" y="2605448"/>
              <a:ext cx="801608" cy="432792"/>
            </a:xfrm>
            <a:prstGeom prst="ellipse">
              <a:avLst/>
            </a:prstGeom>
            <a:ln w="38100"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w</a:t>
              </a:r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5D191F25-676D-469F-920C-0EBCF4580B97}"/>
                </a:ext>
              </a:extLst>
            </p:cNvPr>
            <p:cNvSpPr/>
            <p:nvPr/>
          </p:nvSpPr>
          <p:spPr>
            <a:xfrm>
              <a:off x="4410967" y="4002466"/>
              <a:ext cx="801608" cy="432792"/>
            </a:xfrm>
            <a:prstGeom prst="ellipse">
              <a:avLst/>
            </a:prstGeom>
            <a:ln w="38100"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b</a:t>
              </a:r>
            </a:p>
          </p:txBody>
        </p:sp>
        <p:cxnSp>
          <p:nvCxnSpPr>
            <p:cNvPr id="68" name="Gerade Verbindung mit Pfeil 67">
              <a:extLst>
                <a:ext uri="{FF2B5EF4-FFF2-40B4-BE49-F238E27FC236}">
                  <a16:creationId xmlns:a16="http://schemas.microsoft.com/office/drawing/2014/main" id="{B6060B1C-08FD-4999-95E3-14BC99293195}"/>
                </a:ext>
              </a:extLst>
            </p:cNvPr>
            <p:cNvCxnSpPr>
              <a:cxnSpLocks/>
              <a:stCxn id="67" idx="6"/>
            </p:cNvCxnSpPr>
            <p:nvPr/>
          </p:nvCxnSpPr>
          <p:spPr>
            <a:xfrm>
              <a:off x="5212575" y="4218862"/>
              <a:ext cx="696077" cy="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Rechteck: abgerundete Ecken 69">
              <a:extLst>
                <a:ext uri="{FF2B5EF4-FFF2-40B4-BE49-F238E27FC236}">
                  <a16:creationId xmlns:a16="http://schemas.microsoft.com/office/drawing/2014/main" id="{1F4C5DB4-49A8-4453-978D-F06C3C9C60DE}"/>
                </a:ext>
              </a:extLst>
            </p:cNvPr>
            <p:cNvSpPr/>
            <p:nvPr/>
          </p:nvSpPr>
          <p:spPr>
            <a:xfrm>
              <a:off x="5908652" y="2479314"/>
              <a:ext cx="2158088" cy="684000"/>
            </a:xfrm>
            <a:prstGeom prst="roundRect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de-DE" sz="1400" dirty="0"/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71" name="Textfeld 70">
                  <a:extLst>
                    <a:ext uri="{FF2B5EF4-FFF2-40B4-BE49-F238E27FC236}">
                      <a16:creationId xmlns:a16="http://schemas.microsoft.com/office/drawing/2014/main" id="{EF5E4DB4-B1CC-46C4-9254-24BBCBC54710}"/>
                    </a:ext>
                  </a:extLst>
                </p:cNvPr>
                <p:cNvSpPr txBox="1"/>
                <p:nvPr/>
              </p:nvSpPr>
              <p:spPr>
                <a:xfrm>
                  <a:off x="6422078" y="2464232"/>
                  <a:ext cx="1479892" cy="800219"/>
                </a:xfrm>
                <a:prstGeom prst="rect">
                  <a:avLst/>
                </a:prstGeom>
                <a:ln w="28575"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Aft>
                      <a:spcPts val="12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de-DE" sz="1600" b="0" i="1" dirty="0"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12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𝑤</m:t>
                            </m:r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de-DE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oMath>
                    </m:oMathPara>
                  </a14:m>
                  <a:endParaRPr lang="de-DE" sz="1600" dirty="0"/>
                </a:p>
              </p:txBody>
            </p:sp>
          </mc:Choice>
          <mc:Fallback>
            <p:sp>
              <p:nvSpPr>
                <p:cNvPr id="71" name="Textfeld 70">
                  <a:extLst>
                    <a:ext uri="{FF2B5EF4-FFF2-40B4-BE49-F238E27FC236}">
                      <a16:creationId xmlns:a16="http://schemas.microsoft.com/office/drawing/2014/main" id="{EF5E4DB4-B1CC-46C4-9254-24BBCBC547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22078" y="2464232"/>
                  <a:ext cx="1479892" cy="800219"/>
                </a:xfrm>
                <a:prstGeom prst="rect">
                  <a:avLst/>
                </a:prstGeom>
                <a:blipFill>
                  <a:blip r:embed="rId14"/>
                  <a:stretch>
                    <a:fillRect/>
                  </a:stretch>
                </a:blipFill>
                <a:ln w="28575"/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2" name="Rechteck: abgerundete Ecken 71">
              <a:extLst>
                <a:ext uri="{FF2B5EF4-FFF2-40B4-BE49-F238E27FC236}">
                  <a16:creationId xmlns:a16="http://schemas.microsoft.com/office/drawing/2014/main" id="{7F559CC2-51C0-4E00-A2E6-588D428FDD44}"/>
                </a:ext>
              </a:extLst>
            </p:cNvPr>
            <p:cNvSpPr/>
            <p:nvPr/>
          </p:nvSpPr>
          <p:spPr>
            <a:xfrm>
              <a:off x="5908652" y="3734502"/>
              <a:ext cx="2158088" cy="684000"/>
            </a:xfrm>
            <a:prstGeom prst="roundRect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de-DE" sz="1400" dirty="0"/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73" name="Textfeld 72">
                  <a:extLst>
                    <a:ext uri="{FF2B5EF4-FFF2-40B4-BE49-F238E27FC236}">
                      <a16:creationId xmlns:a16="http://schemas.microsoft.com/office/drawing/2014/main" id="{E806C816-B8F7-4B21-B7C4-9A9716E38FFC}"/>
                    </a:ext>
                  </a:extLst>
                </p:cNvPr>
                <p:cNvSpPr txBox="1"/>
                <p:nvPr/>
              </p:nvSpPr>
              <p:spPr>
                <a:xfrm>
                  <a:off x="6325643" y="3719420"/>
                  <a:ext cx="1616981" cy="819199"/>
                </a:xfrm>
                <a:prstGeom prst="rect">
                  <a:avLst/>
                </a:prstGeom>
                <a:ln w="28575"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Aft>
                      <a:spcPts val="12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𝑝𝑟𝑒𝑑</m:t>
                            </m:r>
                          </m:sub>
                        </m:sSub>
                      </m:oMath>
                    </m:oMathPara>
                  </a14:m>
                  <a:endParaRPr lang="de-DE" sz="1600" b="0" i="1" dirty="0">
                    <a:latin typeface="Cambria Math" panose="02040503050406030204" pitchFamily="18" charset="0"/>
                  </a:endParaRPr>
                </a:p>
                <a:p>
                  <a:pPr>
                    <a:spcAft>
                      <a:spcPts val="12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d>
                          <m:d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</m:d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de-DE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oMath>
                    </m:oMathPara>
                  </a14:m>
                  <a:endParaRPr lang="de-DE" sz="1600" dirty="0"/>
                </a:p>
              </p:txBody>
            </p:sp>
          </mc:Choice>
          <mc:Fallback>
            <p:sp>
              <p:nvSpPr>
                <p:cNvPr id="73" name="Textfeld 72">
                  <a:extLst>
                    <a:ext uri="{FF2B5EF4-FFF2-40B4-BE49-F238E27FC236}">
                      <a16:creationId xmlns:a16="http://schemas.microsoft.com/office/drawing/2014/main" id="{E806C816-B8F7-4B21-B7C4-9A9716E38FF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325643" y="3719420"/>
                  <a:ext cx="1616981" cy="819199"/>
                </a:xfrm>
                <a:prstGeom prst="rect">
                  <a:avLst/>
                </a:prstGeom>
                <a:blipFill>
                  <a:blip r:embed="rId15"/>
                  <a:stretch>
                    <a:fillRect/>
                  </a:stretch>
                </a:blipFill>
                <a:ln w="28575"/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4" name="Rechteck: abgerundete Ecken 73">
              <a:extLst>
                <a:ext uri="{FF2B5EF4-FFF2-40B4-BE49-F238E27FC236}">
                  <a16:creationId xmlns:a16="http://schemas.microsoft.com/office/drawing/2014/main" id="{9B725EF0-180F-4885-86E9-E6F3C8D77C9D}"/>
                </a:ext>
              </a:extLst>
            </p:cNvPr>
            <p:cNvSpPr/>
            <p:nvPr/>
          </p:nvSpPr>
          <p:spPr>
            <a:xfrm>
              <a:off x="5908652" y="4962328"/>
              <a:ext cx="2158088" cy="684000"/>
            </a:xfrm>
            <a:prstGeom prst="roundRect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de-DE" sz="1400" dirty="0"/>
            </a:p>
          </p:txBody>
        </p: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1A583BEF-AD09-4733-8A2A-14E83ADF1635}"/>
                </a:ext>
              </a:extLst>
            </p:cNvPr>
            <p:cNvCxnSpPr>
              <a:cxnSpLocks/>
              <a:stCxn id="70" idx="2"/>
              <a:endCxn id="72" idx="0"/>
            </p:cNvCxnSpPr>
            <p:nvPr/>
          </p:nvCxnSpPr>
          <p:spPr>
            <a:xfrm>
              <a:off x="6987696" y="3163314"/>
              <a:ext cx="0" cy="571188"/>
            </a:xfrm>
            <a:prstGeom prst="straightConnector1">
              <a:avLst/>
            </a:prstGeom>
            <a:ln w="38100">
              <a:solidFill>
                <a:srgbClr val="FF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529D615A-3698-40C2-905A-F6816C43322E}"/>
                </a:ext>
              </a:extLst>
            </p:cNvPr>
            <p:cNvCxnSpPr>
              <a:cxnSpLocks/>
              <a:stCxn id="72" idx="2"/>
              <a:endCxn id="74" idx="0"/>
            </p:cNvCxnSpPr>
            <p:nvPr/>
          </p:nvCxnSpPr>
          <p:spPr>
            <a:xfrm>
              <a:off x="6987696" y="4418502"/>
              <a:ext cx="0" cy="543825"/>
            </a:xfrm>
            <a:prstGeom prst="straightConnector1">
              <a:avLst/>
            </a:prstGeom>
            <a:ln w="38100">
              <a:solidFill>
                <a:srgbClr val="FF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B536DF0C-B858-4F10-BC51-6921DDC4760A}"/>
                </a:ext>
              </a:extLst>
            </p:cNvPr>
            <p:cNvSpPr/>
            <p:nvPr/>
          </p:nvSpPr>
          <p:spPr>
            <a:xfrm>
              <a:off x="6508719" y="1803362"/>
              <a:ext cx="964866" cy="432792"/>
            </a:xfrm>
            <a:prstGeom prst="ellipse">
              <a:avLst/>
            </a:prstGeom>
            <a:ln w="38100">
              <a:solidFill>
                <a:srgbClr val="0070C0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Input</a:t>
              </a:r>
            </a:p>
          </p:txBody>
        </p:sp>
        <p:cxnSp>
          <p:nvCxnSpPr>
            <p:cNvPr id="79" name="Gerade Verbindung mit Pfeil 78">
              <a:extLst>
                <a:ext uri="{FF2B5EF4-FFF2-40B4-BE49-F238E27FC236}">
                  <a16:creationId xmlns:a16="http://schemas.microsoft.com/office/drawing/2014/main" id="{3B34553A-4ED9-4992-A22C-3F833F4C6B07}"/>
                </a:ext>
              </a:extLst>
            </p:cNvPr>
            <p:cNvCxnSpPr>
              <a:cxnSpLocks/>
              <a:stCxn id="78" idx="4"/>
              <a:endCxn id="70" idx="0"/>
            </p:cNvCxnSpPr>
            <p:nvPr/>
          </p:nvCxnSpPr>
          <p:spPr>
            <a:xfrm flipH="1">
              <a:off x="6987696" y="2236154"/>
              <a:ext cx="3456" cy="24316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9AC53FB8-DA8E-4133-AC3C-BCEEF24028EC}"/>
                </a:ext>
              </a:extLst>
            </p:cNvPr>
            <p:cNvSpPr/>
            <p:nvPr/>
          </p:nvSpPr>
          <p:spPr>
            <a:xfrm>
              <a:off x="7220014" y="1651816"/>
              <a:ext cx="481597" cy="43279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2</a:t>
              </a:r>
            </a:p>
          </p:txBody>
        </p:sp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52B26272-9BBB-4A9E-8C47-3C5D87F26D1D}"/>
                </a:ext>
              </a:extLst>
            </p:cNvPr>
            <p:cNvSpPr/>
            <p:nvPr/>
          </p:nvSpPr>
          <p:spPr>
            <a:xfrm>
              <a:off x="4134450" y="2336271"/>
              <a:ext cx="481597" cy="43279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3</a:t>
              </a:r>
            </a:p>
          </p:txBody>
        </p:sp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id="{56BC8EAF-D8D0-436C-8164-71FEC3F4E13C}"/>
                </a:ext>
              </a:extLst>
            </p:cNvPr>
            <p:cNvSpPr/>
            <p:nvPr/>
          </p:nvSpPr>
          <p:spPr>
            <a:xfrm>
              <a:off x="4180131" y="3760099"/>
              <a:ext cx="481597" cy="43279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1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84" name="Ellipse 83">
                  <a:extLst>
                    <a:ext uri="{FF2B5EF4-FFF2-40B4-BE49-F238E27FC236}">
                      <a16:creationId xmlns:a16="http://schemas.microsoft.com/office/drawing/2014/main" id="{157B1064-6B5F-4947-A849-84FD20A2867D}"/>
                    </a:ext>
                  </a:extLst>
                </p:cNvPr>
                <p:cNvSpPr/>
                <p:nvPr/>
              </p:nvSpPr>
              <p:spPr>
                <a:xfrm>
                  <a:off x="4465441" y="5143716"/>
                  <a:ext cx="801608" cy="432792"/>
                </a:xfrm>
                <a:prstGeom prst="ellipse">
                  <a:avLst/>
                </a:prstGeom>
                <a:ln w="38100">
                  <a:solidFill>
                    <a:srgbClr val="0070C0"/>
                  </a:solidFill>
                </a:ln>
              </p:spPr>
              <p:txBody>
                <a:bodyPr wrap="square" rtlCol="0" anchor="ctr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𝑡𝑟𝑢𝑒</m:t>
                            </m:r>
                          </m:sub>
                        </m:sSub>
                      </m:oMath>
                    </m:oMathPara>
                  </a14:m>
                  <a:endParaRPr lang="de-DE" sz="1400" dirty="0"/>
                </a:p>
              </p:txBody>
            </p:sp>
          </mc:Choice>
          <mc:Fallback>
            <p:sp>
              <p:nvSpPr>
                <p:cNvPr id="84" name="Ellipse 83">
                  <a:extLst>
                    <a:ext uri="{FF2B5EF4-FFF2-40B4-BE49-F238E27FC236}">
                      <a16:creationId xmlns:a16="http://schemas.microsoft.com/office/drawing/2014/main" id="{157B1064-6B5F-4947-A849-84FD20A2867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65441" y="5143716"/>
                  <a:ext cx="801608" cy="432792"/>
                </a:xfrm>
                <a:prstGeom prst="ellipse">
                  <a:avLst/>
                </a:prstGeom>
                <a:blipFill>
                  <a:blip r:embed="rId16"/>
                  <a:stretch>
                    <a:fillRect/>
                  </a:stretch>
                </a:blipFill>
                <a:ln w="38100">
                  <a:solidFill>
                    <a:srgbClr val="0070C0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4DA12CF9-0B42-4F0A-A51A-59F2DE424B46}"/>
                </a:ext>
              </a:extLst>
            </p:cNvPr>
            <p:cNvSpPr/>
            <p:nvPr/>
          </p:nvSpPr>
          <p:spPr>
            <a:xfrm>
              <a:off x="4134449" y="4927320"/>
              <a:ext cx="481597" cy="43279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/>
                <a:t>4</a:t>
              </a:r>
            </a:p>
          </p:txBody>
        </p:sp>
        <p:cxnSp>
          <p:nvCxnSpPr>
            <p:cNvPr id="85" name="Gerade Verbindung mit Pfeil 84">
              <a:extLst>
                <a:ext uri="{FF2B5EF4-FFF2-40B4-BE49-F238E27FC236}">
                  <a16:creationId xmlns:a16="http://schemas.microsoft.com/office/drawing/2014/main" id="{050FAEC7-E465-4AC1-B993-D341F951EBEC}"/>
                </a:ext>
              </a:extLst>
            </p:cNvPr>
            <p:cNvCxnSpPr>
              <a:cxnSpLocks/>
              <a:stCxn id="84" idx="6"/>
            </p:cNvCxnSpPr>
            <p:nvPr/>
          </p:nvCxnSpPr>
          <p:spPr>
            <a:xfrm>
              <a:off x="5267049" y="5360112"/>
              <a:ext cx="696077" cy="1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98" name="Textfeld 97">
                  <a:extLst>
                    <a:ext uri="{FF2B5EF4-FFF2-40B4-BE49-F238E27FC236}">
                      <a16:creationId xmlns:a16="http://schemas.microsoft.com/office/drawing/2014/main" id="{50209435-8836-4E75-AEBC-73B0963E0D44}"/>
                    </a:ext>
                  </a:extLst>
                </p:cNvPr>
                <p:cNvSpPr txBox="1"/>
                <p:nvPr/>
              </p:nvSpPr>
              <p:spPr>
                <a:xfrm>
                  <a:off x="6200359" y="5026598"/>
                  <a:ext cx="1711498" cy="548034"/>
                </a:xfrm>
                <a:prstGeom prst="rect">
                  <a:avLst/>
                </a:prstGeom>
                <a:ln w="28575"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Aft>
                      <a:spcPts val="12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𝑙𝑜𝑠𝑠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d>
                          <m:d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𝑝𝑟𝑒𝑑</m:t>
                                </m:r>
                              </m:sub>
                            </m:sSub>
                          </m:e>
                        </m:d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𝑡𝑟𝑢𝑒</m:t>
                            </m:r>
                          </m:sub>
                        </m:sSub>
                        <m:r>
                          <a:rPr lang="de-DE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𝑝𝑟𝑒𝑑</m:t>
                            </m:r>
                          </m:sub>
                        </m:sSub>
                      </m:oMath>
                    </m:oMathPara>
                  </a14:m>
                  <a:endParaRPr lang="de-DE" sz="1600" dirty="0"/>
                </a:p>
              </p:txBody>
            </p:sp>
          </mc:Choice>
          <mc:Fallback>
            <p:sp>
              <p:nvSpPr>
                <p:cNvPr id="98" name="Textfeld 97">
                  <a:extLst>
                    <a:ext uri="{FF2B5EF4-FFF2-40B4-BE49-F238E27FC236}">
                      <a16:creationId xmlns:a16="http://schemas.microsoft.com/office/drawing/2014/main" id="{50209435-8836-4E75-AEBC-73B0963E0D4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00359" y="5026598"/>
                  <a:ext cx="1711498" cy="548034"/>
                </a:xfrm>
                <a:prstGeom prst="rect">
                  <a:avLst/>
                </a:prstGeom>
                <a:blipFill>
                  <a:blip r:embed="rId17"/>
                  <a:stretch>
                    <a:fillRect b="-13483"/>
                  </a:stretch>
                </a:blipFill>
                <a:ln w="28575"/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01" name="Rechteck 100">
                  <a:extLst>
                    <a:ext uri="{FF2B5EF4-FFF2-40B4-BE49-F238E27FC236}">
                      <a16:creationId xmlns:a16="http://schemas.microsoft.com/office/drawing/2014/main" id="{C3BD3889-D140-490B-80BA-A3E48CCF6493}"/>
                    </a:ext>
                  </a:extLst>
                </p:cNvPr>
                <p:cNvSpPr/>
                <p:nvPr/>
              </p:nvSpPr>
              <p:spPr>
                <a:xfrm>
                  <a:off x="7049245" y="4449304"/>
                  <a:ext cx="796693" cy="47583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de-DE" sz="120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𝜕</m:t>
                            </m:r>
                            <m:r>
                              <a:rPr lang="de-D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  <m:sSub>
                              <m:sSubPr>
                                <m:ctrlP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</m:num>
                          <m:den>
                            <m:r>
                              <a:rPr lang="de-D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𝜕</m:t>
                            </m:r>
                            <m:sSub>
                              <m:sSub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den>
                        </m:f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oMath>
                    </m:oMathPara>
                  </a14:m>
                  <a:endParaRPr lang="de-DE" sz="1200" dirty="0"/>
                </a:p>
              </p:txBody>
            </p:sp>
          </mc:Choice>
          <mc:Fallback>
            <p:sp>
              <p:nvSpPr>
                <p:cNvPr id="101" name="Rechteck 100">
                  <a:extLst>
                    <a:ext uri="{FF2B5EF4-FFF2-40B4-BE49-F238E27FC236}">
                      <a16:creationId xmlns:a16="http://schemas.microsoft.com/office/drawing/2014/main" id="{C3BD3889-D140-490B-80BA-A3E48CCF649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49245" y="4449304"/>
                  <a:ext cx="796693" cy="475836"/>
                </a:xfrm>
                <a:prstGeom prst="rect">
                  <a:avLst/>
                </a:prstGeom>
                <a:blipFill>
                  <a:blip r:embed="rId18"/>
                  <a:stretch>
                    <a:fillRect b="-384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02" name="Rechteck 101">
                  <a:extLst>
                    <a:ext uri="{FF2B5EF4-FFF2-40B4-BE49-F238E27FC236}">
                      <a16:creationId xmlns:a16="http://schemas.microsoft.com/office/drawing/2014/main" id="{1D5510AB-7C11-4014-86B6-B10248ABD719}"/>
                    </a:ext>
                  </a:extLst>
                </p:cNvPr>
                <p:cNvSpPr/>
                <p:nvPr/>
              </p:nvSpPr>
              <p:spPr>
                <a:xfrm>
                  <a:off x="7132611" y="3213991"/>
                  <a:ext cx="735778" cy="47583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de-DE" sz="120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𝜕</m:t>
                            </m:r>
                            <m:sSub>
                              <m:sSubPr>
                                <m:ctrlP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num>
                          <m:den>
                            <m:r>
                              <a:rPr lang="de-D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𝜕</m:t>
                            </m:r>
                            <m:sSub>
                              <m:sSub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den>
                        </m:f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oMath>
                    </m:oMathPara>
                  </a14:m>
                  <a:endParaRPr lang="de-DE" sz="1200" dirty="0"/>
                </a:p>
              </p:txBody>
            </p:sp>
          </mc:Choice>
          <mc:Fallback>
            <p:sp>
              <p:nvSpPr>
                <p:cNvPr id="102" name="Rechteck 101">
                  <a:extLst>
                    <a:ext uri="{FF2B5EF4-FFF2-40B4-BE49-F238E27FC236}">
                      <a16:creationId xmlns:a16="http://schemas.microsoft.com/office/drawing/2014/main" id="{1D5510AB-7C11-4014-86B6-B10248ABD719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32611" y="3213991"/>
                  <a:ext cx="735778" cy="475836"/>
                </a:xfrm>
                <a:prstGeom prst="rect">
                  <a:avLst/>
                </a:prstGeom>
                <a:blipFill>
                  <a:blip r:embed="rId19"/>
                  <a:stretch>
                    <a:fillRect b="-5128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03" name="Rechteck 102">
                  <a:extLst>
                    <a:ext uri="{FF2B5EF4-FFF2-40B4-BE49-F238E27FC236}">
                      <a16:creationId xmlns:a16="http://schemas.microsoft.com/office/drawing/2014/main" id="{9E10D3DE-F07E-43EA-8380-493EF1788B3E}"/>
                    </a:ext>
                  </a:extLst>
                </p:cNvPr>
                <p:cNvSpPr/>
                <p:nvPr/>
              </p:nvSpPr>
              <p:spPr>
                <a:xfrm>
                  <a:off x="5091169" y="2121336"/>
                  <a:ext cx="946413" cy="49956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14:m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den>
                      </m:f>
                      <m:r>
                        <a:rPr lang="de-DE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2</m:t>
                      </m:r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>
            <p:sp>
              <p:nvSpPr>
                <p:cNvPr id="103" name="Rechteck 102">
                  <a:extLst>
                    <a:ext uri="{FF2B5EF4-FFF2-40B4-BE49-F238E27FC236}">
                      <a16:creationId xmlns:a16="http://schemas.microsoft.com/office/drawing/2014/main" id="{9E10D3DE-F07E-43EA-8380-493EF1788B3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091169" y="2121336"/>
                  <a:ext cx="946413" cy="499560"/>
                </a:xfrm>
                <a:prstGeom prst="rect">
                  <a:avLst/>
                </a:prstGeom>
                <a:blipFill>
                  <a:blip r:embed="rId20"/>
                  <a:stretch>
                    <a:fillRect b="-243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1356119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 animBg="1"/>
      <p:bldP spid="93" grpId="0"/>
      <p:bldP spid="9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Was ist nun Backpropagation? …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6</a:t>
            </a:fld>
            <a:endParaRPr lang="de-DE" alt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3089920" y="4549353"/>
            <a:ext cx="5886400" cy="369332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de-DE" dirty="0"/>
              <a:t>http://neuralnetworksanddeeplearning.com/chap2.html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2237103" y="1345960"/>
            <a:ext cx="7278953" cy="461665"/>
          </a:xfrm>
          <a:prstGeom prst="rect">
            <a:avLst/>
          </a:prstGeom>
          <a:ln w="28575"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dirty="0"/>
              <a:t>… eine effiziente Lösungsstrategie, um iterativ rückwärtig die Ableitung der Zielfunktion nach den Gewichten w zu lösen …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3817" y="1946370"/>
            <a:ext cx="5402329" cy="215077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8504" y="3461258"/>
            <a:ext cx="4428555" cy="690109"/>
          </a:xfrm>
          <a:prstGeom prst="rect">
            <a:avLst/>
          </a:prstGeom>
        </p:spPr>
      </p:pic>
      <p:cxnSp>
        <p:nvCxnSpPr>
          <p:cNvPr id="15" name="Gerade Verbindung mit Pfeil 14"/>
          <p:cNvCxnSpPr/>
          <p:nvPr/>
        </p:nvCxnSpPr>
        <p:spPr>
          <a:xfrm flipV="1">
            <a:off x="2801888" y="2286000"/>
            <a:ext cx="781753" cy="551468"/>
          </a:xfrm>
          <a:prstGeom prst="straightConnector1">
            <a:avLst/>
          </a:prstGeom>
          <a:ln w="3810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/>
              <p:cNvSpPr txBox="1"/>
              <p:nvPr/>
            </p:nvSpPr>
            <p:spPr>
              <a:xfrm>
                <a:off x="2801889" y="2307777"/>
                <a:ext cx="359521" cy="374333"/>
              </a:xfrm>
              <a:prstGeom prst="rect">
                <a:avLst/>
              </a:prstGeom>
              <a:solidFill>
                <a:srgbClr val="E2AC00"/>
              </a:solidFill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sSubSup>
                        <m:sSubSupPr>
                          <m:ctrlP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𝑘</m:t>
                          </m:r>
                        </m:sub>
                        <m:sup>
                          <m:r>
                            <a:rPr lang="de-DE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16" name="Textfeld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1889" y="2307777"/>
                <a:ext cx="359521" cy="37433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hteck 2"/>
          <p:cNvSpPr/>
          <p:nvPr/>
        </p:nvSpPr>
        <p:spPr>
          <a:xfrm>
            <a:off x="527052" y="5313553"/>
            <a:ext cx="108867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Da alle Operationen in neuronalen Netzen differenzierbar sind, kann die Kettenregel zur Bildung des Gradienten und zur Aktualisierung der Parameter angewendet werden. Dies wird als Backpropagation bezeichnet.</a:t>
            </a:r>
          </a:p>
        </p:txBody>
      </p:sp>
    </p:spTree>
    <p:extLst>
      <p:ext uri="{BB962C8B-B14F-4D97-AF65-F5344CB8AC3E}">
        <p14:creationId xmlns:p14="http://schemas.microsoft.com/office/powerpoint/2010/main" val="15245094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35FC5BD-E434-40D2-8A3F-811904B055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188FA6-98AE-4182-8F87-C402A020843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944164-11C5-4D82-B9FF-767BF33FA44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9E0848-1EB8-4B63-83A6-16E49FD5C3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7</a:t>
            </a:fld>
            <a:endParaRPr lang="de-DE" alt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FEBE8-2EDF-47DF-BBD4-1B24238F75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C4DCCC-17D0-41ED-BA33-A95907EC11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FA0D494-58B5-4163-9249-D02FCF3E5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3055809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Aufbau eines Neurons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neuronalen Netzes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09CFA46-983B-4E98-B22A-846CB1070E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3055809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Grundsätzliche Begrifflichkeiten und Notationen</a:t>
            </a:r>
            <a:endParaRPr lang="en-GB" sz="1400" dirty="0">
              <a:latin typeface="Arial 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BF0D63D-1EC6-4797-B44C-33F2F0B2B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3054237"/>
            <a:ext cx="669313" cy="524172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1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7ACCB92-C326-40C9-9BD8-BDD4EB28D3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3698038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dirty="0" err="1"/>
              <a:t>Gradientenabstiegs</a:t>
            </a:r>
            <a:r>
              <a:rPr lang="de-DE" altLang="de-DE" sz="1400" dirty="0"/>
              <a:t>-Verfahr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B6A8C30-BA96-4119-86B3-540C55AAE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3698038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Motivation des Verfahrens und nachvollziehen der „Mathematik“</a:t>
            </a:r>
            <a:endParaRPr lang="en-GB" sz="1400" dirty="0">
              <a:latin typeface="Arial 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1D0149-C70A-4A51-B3C1-A61DA4B17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3698038"/>
            <a:ext cx="669313" cy="522599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2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B472079-B7B9-4185-8F76-B4E34ABDB1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4340267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rgbClr val="00B1A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führung in </a:t>
            </a:r>
            <a:r>
              <a:rPr lang="de-DE" sz="1400" dirty="0" err="1">
                <a:latin typeface="Arial "/>
              </a:rPr>
              <a:t>Tensorflow</a:t>
            </a:r>
            <a:r>
              <a:rPr lang="de-DE" sz="1400" dirty="0">
                <a:latin typeface="Arial "/>
              </a:rPr>
              <a:t> und Keras</a:t>
            </a:r>
            <a:endParaRPr lang="en-GB" sz="1400" dirty="0">
              <a:latin typeface="Arial 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65BE198-034B-416E-82F1-C14F29A42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4340267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rgbClr val="00B1A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Verstehen der API </a:t>
            </a:r>
            <a:r>
              <a:rPr lang="de-DE" sz="1400" dirty="0" err="1">
                <a:latin typeface="Arial "/>
              </a:rPr>
              <a:t>Sequential</a:t>
            </a:r>
            <a:r>
              <a:rPr lang="de-DE" sz="1400" dirty="0">
                <a:latin typeface="Arial "/>
              </a:rPr>
              <a:t>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Einsatz des </a:t>
            </a:r>
            <a:r>
              <a:rPr lang="de-DE" sz="1400" dirty="0" err="1">
                <a:latin typeface="Arial "/>
              </a:rPr>
              <a:t>Dense</a:t>
            </a:r>
            <a:r>
              <a:rPr lang="de-DE" sz="1400" dirty="0">
                <a:latin typeface="Arial "/>
              </a:rPr>
              <a:t> Layer</a:t>
            </a:r>
            <a:endParaRPr lang="en-GB" sz="1400" dirty="0">
              <a:latin typeface="Arial 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163A116-2091-4D5A-84AD-93787C783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4327674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rgbClr val="00B1A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3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F21A2C-735D-472B-B9AF-5B96B6950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4986465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satz Feed </a:t>
            </a:r>
            <a:r>
              <a:rPr lang="de-DE" sz="1400" dirty="0" err="1">
                <a:latin typeface="Arial "/>
              </a:rPr>
              <a:t>Forwardnetze</a:t>
            </a:r>
            <a:r>
              <a:rPr lang="de-DE" sz="1400" dirty="0">
                <a:latin typeface="Arial "/>
              </a:rPr>
              <a:t> zur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Modellierung der Windeinspeisung</a:t>
            </a:r>
            <a:endParaRPr lang="en-GB" sz="1400" dirty="0">
              <a:latin typeface="Arial 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F0A3870-1094-4B34-AF89-AFCB35C9D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4986465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Relevante Features und Netzarchitektur für die Fragestellung</a:t>
            </a:r>
            <a:endParaRPr lang="en-GB" sz="1400" dirty="0">
              <a:latin typeface="Arial 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8A88D0B-140C-47B8-A8E8-4878754B6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4973872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32807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In Python ist Keras in T</a:t>
            </a:r>
            <a:r>
              <a:rPr lang="de-DE"/>
              <a:t>ensorflow</a:t>
            </a:r>
            <a:r>
              <a:rPr lang="de-DE" dirty="0"/>
              <a:t> mittlerweile integriert. Die bisherige Arbeitsteilung ist aber erhalten gebli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ED8EC0B3-B91B-4733-A192-CCD8754B621D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8</a:t>
            </a:fld>
            <a:endParaRPr lang="de-DE" alt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27381" y="1553683"/>
            <a:ext cx="5280587" cy="4516917"/>
          </a:xfrm>
        </p:spPr>
        <p:txBody>
          <a:bodyPr/>
          <a:lstStyle/>
          <a:p>
            <a:r>
              <a:rPr lang="de-DE" dirty="0"/>
              <a:t>TensorFlow APIs:</a:t>
            </a:r>
          </a:p>
          <a:p>
            <a:pPr lvl="1"/>
            <a:r>
              <a:rPr lang="en-US" i="1" dirty="0"/>
              <a:t>Tensors</a:t>
            </a:r>
            <a:r>
              <a:rPr lang="en-US" dirty="0"/>
              <a:t>, including special tensors that store the network’s state (</a:t>
            </a:r>
            <a:r>
              <a:rPr lang="en-US" i="1" dirty="0"/>
              <a:t>variables</a:t>
            </a:r>
            <a:r>
              <a:rPr lang="en-US" dirty="0"/>
              <a:t>)</a:t>
            </a:r>
          </a:p>
          <a:p>
            <a:pPr lvl="1"/>
            <a:r>
              <a:rPr lang="en-US" i="1" dirty="0"/>
              <a:t>Tensor operations </a:t>
            </a:r>
            <a:r>
              <a:rPr lang="en-US" dirty="0"/>
              <a:t>such as addition, relu, matmul</a:t>
            </a:r>
          </a:p>
          <a:p>
            <a:pPr lvl="1"/>
            <a:r>
              <a:rPr lang="en-US" i="1" dirty="0"/>
              <a:t>Backpropagation</a:t>
            </a:r>
            <a:r>
              <a:rPr lang="en-US" dirty="0"/>
              <a:t>, a way to compute the gradient of mathematical expressions</a:t>
            </a:r>
          </a:p>
          <a:p>
            <a:pPr lvl="1"/>
            <a:r>
              <a:rPr lang="en-US" dirty="0"/>
              <a:t>(handled in TensorFlow via the GradientTape object)</a:t>
            </a:r>
          </a:p>
          <a:p>
            <a:r>
              <a:rPr lang="en-US" dirty="0" err="1"/>
              <a:t>Keras</a:t>
            </a:r>
            <a:r>
              <a:rPr lang="en-US" dirty="0"/>
              <a:t> APIs:</a:t>
            </a:r>
          </a:p>
          <a:p>
            <a:pPr lvl="1"/>
            <a:r>
              <a:rPr lang="en-US" i="1" dirty="0"/>
              <a:t>Layers</a:t>
            </a:r>
            <a:r>
              <a:rPr lang="en-US" dirty="0"/>
              <a:t>, which are combined into a </a:t>
            </a:r>
            <a:r>
              <a:rPr lang="en-US" i="1" dirty="0"/>
              <a:t>model</a:t>
            </a:r>
          </a:p>
          <a:p>
            <a:pPr lvl="1"/>
            <a:r>
              <a:rPr lang="en-US" dirty="0"/>
              <a:t>A </a:t>
            </a:r>
            <a:r>
              <a:rPr lang="en-US" i="1" dirty="0"/>
              <a:t>loss function</a:t>
            </a:r>
            <a:r>
              <a:rPr lang="en-US" dirty="0"/>
              <a:t>, which defines the feedback signal used for learning</a:t>
            </a:r>
          </a:p>
          <a:p>
            <a:pPr lvl="1"/>
            <a:r>
              <a:rPr lang="en-US" dirty="0"/>
              <a:t>An </a:t>
            </a:r>
            <a:r>
              <a:rPr lang="en-US" i="1" dirty="0"/>
              <a:t>optimizer</a:t>
            </a:r>
            <a:r>
              <a:rPr lang="en-US" dirty="0"/>
              <a:t>, which determines how learning proceeds</a:t>
            </a:r>
          </a:p>
          <a:p>
            <a:pPr lvl="1"/>
            <a:r>
              <a:rPr lang="en-US" i="1" dirty="0"/>
              <a:t>Metrics </a:t>
            </a:r>
            <a:r>
              <a:rPr lang="en-US" dirty="0"/>
              <a:t>to evaluate model performance, such as accuracy</a:t>
            </a:r>
          </a:p>
          <a:p>
            <a:pPr lvl="1"/>
            <a:r>
              <a:rPr lang="en-US" dirty="0"/>
              <a:t>A </a:t>
            </a:r>
            <a:r>
              <a:rPr lang="en-US" i="1" dirty="0"/>
              <a:t>training loop </a:t>
            </a:r>
            <a:r>
              <a:rPr lang="en-US" dirty="0"/>
              <a:t>that performs mini-batch stochastic gradient descent</a:t>
            </a:r>
          </a:p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9976" y="1846910"/>
            <a:ext cx="5963482" cy="135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9440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35FC5BD-E434-40D2-8A3F-811904B055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188FA6-98AE-4182-8F87-C402A020843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944164-11C5-4D82-B9FF-767BF33FA44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9E0848-1EB8-4B63-83A6-16E49FD5C3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9</a:t>
            </a:fld>
            <a:endParaRPr lang="de-DE" alt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FEBE8-2EDF-47DF-BBD4-1B24238F75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C4DCCC-17D0-41ED-BA33-A95907EC11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FA0D494-58B5-4163-9249-D02FCF3E5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3055809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Aufbau eines Neurons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neuronalen Netzes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09CFA46-983B-4E98-B22A-846CB1070E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3055809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Grundsätzliche Begrifflichkeiten und Notationen</a:t>
            </a:r>
            <a:endParaRPr lang="en-GB" sz="1400" dirty="0">
              <a:latin typeface="Arial 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BF0D63D-1EC6-4797-B44C-33F2F0B2B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3054237"/>
            <a:ext cx="669313" cy="524172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1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7ACCB92-C326-40C9-9BD8-BDD4EB28D3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3698038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dirty="0" err="1"/>
              <a:t>Gradientenabstiegs</a:t>
            </a:r>
            <a:r>
              <a:rPr lang="de-DE" altLang="de-DE" sz="1400" dirty="0"/>
              <a:t>-Verfahr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B6A8C30-BA96-4119-86B3-540C55AAE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3698038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Motivation des Verfahrens und nachvollziehen der „Mathematik“</a:t>
            </a:r>
            <a:endParaRPr lang="en-GB" sz="1400" dirty="0">
              <a:latin typeface="Arial 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1D0149-C70A-4A51-B3C1-A61DA4B17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3698038"/>
            <a:ext cx="669313" cy="522599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2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B472079-B7B9-4185-8F76-B4E34ABDB1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4340267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führung in </a:t>
            </a:r>
            <a:r>
              <a:rPr lang="de-DE" sz="1400" dirty="0" err="1">
                <a:latin typeface="Arial "/>
              </a:rPr>
              <a:t>Tensorflow</a:t>
            </a:r>
            <a:r>
              <a:rPr lang="de-DE" sz="1400" dirty="0">
                <a:latin typeface="Arial "/>
              </a:rPr>
              <a:t> und Keras</a:t>
            </a:r>
            <a:endParaRPr lang="en-GB" sz="1400" dirty="0">
              <a:latin typeface="Arial 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65BE198-034B-416E-82F1-C14F29A42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4340267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Verstehen der API </a:t>
            </a:r>
            <a:r>
              <a:rPr lang="de-DE" sz="1400" dirty="0" err="1">
                <a:latin typeface="Arial "/>
              </a:rPr>
              <a:t>Sequential</a:t>
            </a:r>
            <a:r>
              <a:rPr lang="de-DE" sz="1400" dirty="0">
                <a:latin typeface="Arial "/>
              </a:rPr>
              <a:t>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Einsatz des </a:t>
            </a:r>
            <a:r>
              <a:rPr lang="de-DE" sz="1400" dirty="0" err="1">
                <a:latin typeface="Arial "/>
              </a:rPr>
              <a:t>Dense</a:t>
            </a:r>
            <a:r>
              <a:rPr lang="de-DE" sz="1400" dirty="0">
                <a:latin typeface="Arial "/>
              </a:rPr>
              <a:t> Layer</a:t>
            </a:r>
            <a:endParaRPr lang="en-GB" sz="1400" dirty="0">
              <a:latin typeface="Arial 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163A116-2091-4D5A-84AD-93787C783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4327674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3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F21A2C-735D-472B-B9AF-5B96B6950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4986465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rgbClr val="33CCC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satz Feed </a:t>
            </a:r>
            <a:r>
              <a:rPr lang="de-DE" sz="1400" dirty="0" err="1">
                <a:latin typeface="Arial "/>
              </a:rPr>
              <a:t>Forwardnetze</a:t>
            </a:r>
            <a:r>
              <a:rPr lang="de-DE" sz="1400" dirty="0">
                <a:latin typeface="Arial "/>
              </a:rPr>
              <a:t> zur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Modellierung der Windeinspeisung</a:t>
            </a:r>
            <a:endParaRPr lang="en-GB" sz="1400" dirty="0">
              <a:latin typeface="Arial 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F0A3870-1094-4B34-AF89-AFCB35C9D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4986465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rgbClr val="33CCC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Relevante Features und Netzarchitektur für die Fragestellung</a:t>
            </a:r>
            <a:endParaRPr lang="en-GB" sz="1400" dirty="0">
              <a:latin typeface="Arial 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8A88D0B-140C-47B8-A8E8-4878754B6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4973872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rgbClr val="33CCC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93230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ie Themengebiete der Veranstaltung verknüpfen Modelle des „Machine Learning“ mit energiewirtschaftlichen Fragestellun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t>02.05.2023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</a:t>
            </a:fld>
            <a:endParaRPr lang="de-DE" alt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3" name="Rechteck 32"/>
          <p:cNvSpPr/>
          <p:nvPr/>
        </p:nvSpPr>
        <p:spPr>
          <a:xfrm>
            <a:off x="1343472" y="1300706"/>
            <a:ext cx="9900000" cy="4712235"/>
          </a:xfrm>
          <a:prstGeom prst="rect">
            <a:avLst/>
          </a:prstGeom>
          <a:noFill/>
        </p:spPr>
      </p:sp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799819818"/>
              </p:ext>
            </p:extLst>
          </p:nvPr>
        </p:nvGraphicFramePr>
        <p:xfrm>
          <a:off x="0" y="1628800"/>
          <a:ext cx="10873208" cy="44556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301689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as Ziel: … Modellierung der Einspeisung einer Windenergieanlag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0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70749" y="1374906"/>
            <a:ext cx="3528391" cy="474712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377" y="1518414"/>
            <a:ext cx="6173719" cy="4603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29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Bei einem neuronalen Netz müssen eine Vielzahl von Parametern in der Topologie festgelegt werd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1</a:t>
            </a:fld>
            <a:endParaRPr lang="de-DE" alt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8B2865BB-C263-41C3-94CF-C697ED9F7ECA}"/>
              </a:ext>
            </a:extLst>
          </p:cNvPr>
          <p:cNvSpPr txBox="1">
            <a:spLocks/>
          </p:cNvSpPr>
          <p:nvPr/>
        </p:nvSpPr>
        <p:spPr>
          <a:xfrm>
            <a:off x="655705" y="4509120"/>
            <a:ext cx="3589438" cy="2715169"/>
          </a:xfrm>
          <a:prstGeom prst="rect">
            <a:avLst/>
          </a:prstGeom>
        </p:spPr>
        <p:txBody>
          <a:bodyPr/>
          <a:lstStyle>
            <a:lvl1pPr marL="179388" indent="-179388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8775" indent="-179388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750" indent="-179388" algn="l" rtl="0" eaLnBrk="0" fontAlgn="base" hangingPunct="0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b="1" dirty="0"/>
              <a:t>Bestimmung von</a:t>
            </a:r>
          </a:p>
          <a:p>
            <a:pPr lvl="1"/>
            <a:r>
              <a:rPr lang="de-DE" sz="1400" dirty="0"/>
              <a:t>Anzahl Input-Knoten</a:t>
            </a:r>
          </a:p>
          <a:p>
            <a:pPr lvl="1"/>
            <a:r>
              <a:rPr lang="de-DE" sz="1400" dirty="0"/>
              <a:t>Anzahl der verdeckten Schichten</a:t>
            </a:r>
          </a:p>
          <a:p>
            <a:pPr lvl="1"/>
            <a:r>
              <a:rPr lang="de-DE" sz="1400" dirty="0"/>
              <a:t>Art der Aktivierungsfunktion</a:t>
            </a:r>
          </a:p>
          <a:p>
            <a:pPr lvl="1"/>
            <a:r>
              <a:rPr lang="de-DE" sz="1400" dirty="0"/>
              <a:t>Anzahl der Output-Kno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D9AEBF3-0984-4E3F-A1D0-2BA5F43CA8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1504" y="1318529"/>
            <a:ext cx="8096190" cy="350550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platzhalter 9">
                <a:extLst>
                  <a:ext uri="{FF2B5EF4-FFF2-40B4-BE49-F238E27FC236}">
                    <a16:creationId xmlns:a16="http://schemas.microsoft.com/office/drawing/2014/main" id="{6044B39E-1AD5-44A2-97CC-8FCB604608A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770437" y="4665215"/>
                <a:ext cx="3589438" cy="2715169"/>
              </a:xfrm>
              <a:prstGeom prst="rect">
                <a:avLst/>
              </a:prstGeom>
            </p:spPr>
            <p:txBody>
              <a:bodyPr/>
              <a:lstStyle>
                <a:lvl1pPr marL="179388" indent="-179388" algn="l" rtl="0" eaLnBrk="0" fontAlgn="base" hangingPunct="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358775" indent="-179388" algn="l" rtl="0" eaLnBrk="0" fontAlgn="base" hangingPunct="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539750" indent="-179388" algn="l" rtl="0" eaLnBrk="0" fontAlgn="base" hangingPunct="0">
                  <a:spcBef>
                    <a:spcPct val="200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9387" lvl="1" indent="0">
                  <a:buNone/>
                </a:pPr>
                <a:endParaRPr lang="de-DE" sz="1400" dirty="0"/>
              </a:p>
              <a:p>
                <a:pPr marL="0" indent="0">
                  <a:buNone/>
                </a:pPr>
                <a:r>
                  <a:rPr lang="de-DE" sz="1400" b="1" dirty="0"/>
                  <a:t>Einfluss der Komplexität des Netzes</a:t>
                </a:r>
              </a:p>
              <a:p>
                <a:pPr lvl="1"/>
                <a:r>
                  <a:rPr lang="de-DE" sz="1400" dirty="0"/>
                  <a:t>Gering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de-DE" sz="1400" dirty="0"/>
                  <a:t> hoher Bias</a:t>
                </a:r>
              </a:p>
              <a:p>
                <a:pPr lvl="1"/>
                <a:r>
                  <a:rPr lang="de-DE" sz="1400" dirty="0"/>
                  <a:t>Hoch </a:t>
                </a:r>
                <a14:m>
                  <m:oMath xmlns:m="http://schemas.openxmlformats.org/officeDocument/2006/math">
                    <m:r>
                      <a:rPr lang="de-DE" sz="1400" b="0" i="0" smtClean="0">
                        <a:latin typeface="Cambria Math" panose="02040503050406030204" pitchFamily="18" charset="0"/>
                      </a:rPr>
                      <m:t>   </m:t>
                    </m:r>
                    <m:r>
                      <a:rPr lang="de-DE" sz="1400" i="1">
                        <a:latin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de-DE" sz="1400" dirty="0"/>
                  <a:t> hohe Varianz (</a:t>
                </a:r>
                <a:r>
                  <a:rPr lang="de-DE" sz="1400" dirty="0" err="1"/>
                  <a:t>Overfitting</a:t>
                </a:r>
                <a:r>
                  <a:rPr lang="de-DE" sz="1400" dirty="0"/>
                  <a:t>)</a:t>
                </a:r>
              </a:p>
            </p:txBody>
          </p:sp>
        </mc:Choice>
        <mc:Fallback xmlns="">
          <p:sp>
            <p:nvSpPr>
              <p:cNvPr id="12" name="Textplatzhalter 9">
                <a:extLst>
                  <a:ext uri="{FF2B5EF4-FFF2-40B4-BE49-F238E27FC236}">
                    <a16:creationId xmlns:a16="http://schemas.microsoft.com/office/drawing/2014/main" id="{6044B39E-1AD5-44A2-97CC-8FCB60460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70437" y="4665215"/>
                <a:ext cx="3589438" cy="2715169"/>
              </a:xfrm>
              <a:prstGeom prst="rect">
                <a:avLst/>
              </a:prstGeom>
              <a:blipFill>
                <a:blip r:embed="rId3"/>
                <a:stretch>
                  <a:fillRect l="-5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477117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Festzulegende Architektur bei einem neuronalen Netz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Architektur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1) Inputs:</a:t>
            </a:r>
          </a:p>
          <a:p>
            <a:pPr lvl="1"/>
            <a:r>
              <a:rPr lang="de-DE" dirty="0"/>
              <a:t>Es sollten nur Informationen verwendet werden, welche auch einen Zusammenhang vermuten lassen!</a:t>
            </a:r>
          </a:p>
          <a:p>
            <a:pPr lvl="1"/>
            <a:r>
              <a:rPr lang="de-DE" dirty="0"/>
              <a:t>Die Übergabe ist i.d.R. normiert</a:t>
            </a:r>
          </a:p>
          <a:p>
            <a:pPr lvl="1"/>
            <a:r>
              <a:rPr lang="de-DE" dirty="0"/>
              <a:t>Unterteilung in Training, Validierung und Testdaten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r>
              <a:rPr lang="de-DE" dirty="0"/>
              <a:t>2) Netztopologie:</a:t>
            </a:r>
          </a:p>
          <a:p>
            <a:pPr lvl="1"/>
            <a:r>
              <a:rPr lang="de-DE" dirty="0"/>
              <a:t>Anzahl der Schichten</a:t>
            </a:r>
          </a:p>
          <a:p>
            <a:pPr lvl="1"/>
            <a:r>
              <a:rPr lang="de-DE" dirty="0"/>
              <a:t>Anzahl der Neuronen pro Schicht</a:t>
            </a:r>
          </a:p>
          <a:p>
            <a:pPr lvl="1"/>
            <a:r>
              <a:rPr lang="de-DE" dirty="0"/>
              <a:t>Form der Aktivierung je Schicht</a:t>
            </a:r>
          </a:p>
          <a:p>
            <a:pPr lvl="1"/>
            <a:r>
              <a:rPr lang="de-DE" dirty="0"/>
              <a:t>Jedes Gewicht stellt einen Freiheitsgrad dar</a:t>
            </a:r>
          </a:p>
          <a:p>
            <a:pPr lvl="1"/>
            <a:r>
              <a:rPr lang="de-DE" dirty="0"/>
              <a:t>Gefahr des „</a:t>
            </a:r>
            <a:r>
              <a:rPr lang="de-DE" dirty="0" err="1"/>
              <a:t>Overfitten</a:t>
            </a:r>
            <a:r>
              <a:rPr lang="de-DE" dirty="0"/>
              <a:t>“</a:t>
            </a:r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2</a:t>
            </a:fld>
            <a:endParaRPr lang="de-DE" alt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2"/>
          <p:cNvSpPr txBox="1">
            <a:spLocks/>
          </p:cNvSpPr>
          <p:nvPr/>
        </p:nvSpPr>
        <p:spPr>
          <a:xfrm>
            <a:off x="5971199" y="1739297"/>
            <a:ext cx="5501663" cy="2256904"/>
          </a:xfrm>
          <a:prstGeom prst="rect">
            <a:avLst/>
          </a:prstGeom>
        </p:spPr>
        <p:txBody>
          <a:bodyPr/>
          <a:lstStyle>
            <a:lvl1pPr marL="214313" indent="-214313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00B1AC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128588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128588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00188" indent="-128588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12"/>
          <p:cNvSpPr txBox="1">
            <a:spLocks/>
          </p:cNvSpPr>
          <p:nvPr/>
        </p:nvSpPr>
        <p:spPr>
          <a:xfrm>
            <a:off x="6023992" y="3815518"/>
            <a:ext cx="3960440" cy="2256904"/>
          </a:xfrm>
          <a:prstGeom prst="rect">
            <a:avLst/>
          </a:prstGeom>
        </p:spPr>
        <p:txBody>
          <a:bodyPr/>
          <a:lstStyle>
            <a:lvl1pPr marL="214313" indent="-214313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00B1AC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128588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128588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00188" indent="-128588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758FD5D-F644-4F12-8C88-B248F8214A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19" r="22680"/>
          <a:stretch/>
        </p:blipFill>
        <p:spPr>
          <a:xfrm>
            <a:off x="1055440" y="2348497"/>
            <a:ext cx="4464496" cy="3505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9264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Aufbau mehrschichtiger neuronalen Netz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3</a:t>
            </a:fld>
            <a:endParaRPr lang="de-DE" altLang="de-DE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reihandform: Form 10">
            <a:extLst>
              <a:ext uri="{FF2B5EF4-FFF2-40B4-BE49-F238E27FC236}">
                <a16:creationId xmlns:a16="http://schemas.microsoft.com/office/drawing/2014/main" id="{4BE93D43-21A7-4793-8273-F10508546EC1}"/>
              </a:ext>
            </a:extLst>
          </p:cNvPr>
          <p:cNvSpPr/>
          <p:nvPr/>
        </p:nvSpPr>
        <p:spPr>
          <a:xfrm>
            <a:off x="4795308" y="1444825"/>
            <a:ext cx="2596836" cy="503555"/>
          </a:xfrm>
          <a:custGeom>
            <a:avLst/>
            <a:gdLst>
              <a:gd name="connsiteX0" fmla="*/ 0 w 2592007"/>
              <a:gd name="connsiteY0" fmla="*/ 71917 h 719173"/>
              <a:gd name="connsiteX1" fmla="*/ 71917 w 2592007"/>
              <a:gd name="connsiteY1" fmla="*/ 0 h 719173"/>
              <a:gd name="connsiteX2" fmla="*/ 2520090 w 2592007"/>
              <a:gd name="connsiteY2" fmla="*/ 0 h 719173"/>
              <a:gd name="connsiteX3" fmla="*/ 2592007 w 2592007"/>
              <a:gd name="connsiteY3" fmla="*/ 71917 h 719173"/>
              <a:gd name="connsiteX4" fmla="*/ 2592007 w 2592007"/>
              <a:gd name="connsiteY4" fmla="*/ 647256 h 719173"/>
              <a:gd name="connsiteX5" fmla="*/ 2520090 w 2592007"/>
              <a:gd name="connsiteY5" fmla="*/ 719173 h 719173"/>
              <a:gd name="connsiteX6" fmla="*/ 71917 w 2592007"/>
              <a:gd name="connsiteY6" fmla="*/ 719173 h 719173"/>
              <a:gd name="connsiteX7" fmla="*/ 0 w 2592007"/>
              <a:gd name="connsiteY7" fmla="*/ 647256 h 719173"/>
              <a:gd name="connsiteX8" fmla="*/ 0 w 2592007"/>
              <a:gd name="connsiteY8" fmla="*/ 71917 h 719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2007" h="719173">
                <a:moveTo>
                  <a:pt x="0" y="71917"/>
                </a:moveTo>
                <a:cubicBezTo>
                  <a:pt x="0" y="32198"/>
                  <a:pt x="32198" y="0"/>
                  <a:pt x="71917" y="0"/>
                </a:cubicBezTo>
                <a:lnTo>
                  <a:pt x="2520090" y="0"/>
                </a:lnTo>
                <a:cubicBezTo>
                  <a:pt x="2559809" y="0"/>
                  <a:pt x="2592007" y="32198"/>
                  <a:pt x="2592007" y="71917"/>
                </a:cubicBezTo>
                <a:lnTo>
                  <a:pt x="2592007" y="647256"/>
                </a:lnTo>
                <a:cubicBezTo>
                  <a:pt x="2592007" y="686975"/>
                  <a:pt x="2559809" y="719173"/>
                  <a:pt x="2520090" y="719173"/>
                </a:cubicBezTo>
                <a:lnTo>
                  <a:pt x="71917" y="719173"/>
                </a:lnTo>
                <a:cubicBezTo>
                  <a:pt x="32198" y="719173"/>
                  <a:pt x="0" y="686975"/>
                  <a:pt x="0" y="647256"/>
                </a:cubicBezTo>
                <a:lnTo>
                  <a:pt x="0" y="7191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404" tIns="74404" rIns="74404" bIns="74404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Eingabe</a:t>
            </a:r>
          </a:p>
        </p:txBody>
      </p:sp>
      <p:sp>
        <p:nvSpPr>
          <p:cNvPr id="10" name="Freihandform: Form 11">
            <a:extLst>
              <a:ext uri="{FF2B5EF4-FFF2-40B4-BE49-F238E27FC236}">
                <a16:creationId xmlns:a16="http://schemas.microsoft.com/office/drawing/2014/main" id="{7092EBF5-4C60-42FE-8DB5-A0C91859D3C7}"/>
              </a:ext>
            </a:extLst>
          </p:cNvPr>
          <p:cNvSpPr/>
          <p:nvPr/>
        </p:nvSpPr>
        <p:spPr>
          <a:xfrm>
            <a:off x="6258958" y="1980528"/>
            <a:ext cx="218440" cy="192887"/>
          </a:xfrm>
          <a:custGeom>
            <a:avLst/>
            <a:gdLst>
              <a:gd name="connsiteX0" fmla="*/ 0 w 181695"/>
              <a:gd name="connsiteY0" fmla="*/ 43607 h 218034"/>
              <a:gd name="connsiteX1" fmla="*/ 90848 w 181695"/>
              <a:gd name="connsiteY1" fmla="*/ 43607 h 218034"/>
              <a:gd name="connsiteX2" fmla="*/ 90848 w 181695"/>
              <a:gd name="connsiteY2" fmla="*/ 0 h 218034"/>
              <a:gd name="connsiteX3" fmla="*/ 181695 w 181695"/>
              <a:gd name="connsiteY3" fmla="*/ 109017 h 218034"/>
              <a:gd name="connsiteX4" fmla="*/ 90848 w 181695"/>
              <a:gd name="connsiteY4" fmla="*/ 218034 h 218034"/>
              <a:gd name="connsiteX5" fmla="*/ 90848 w 181695"/>
              <a:gd name="connsiteY5" fmla="*/ 174427 h 218034"/>
              <a:gd name="connsiteX6" fmla="*/ 0 w 181695"/>
              <a:gd name="connsiteY6" fmla="*/ 174427 h 218034"/>
              <a:gd name="connsiteX7" fmla="*/ 0 w 181695"/>
              <a:gd name="connsiteY7" fmla="*/ 43607 h 21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695" h="218034">
                <a:moveTo>
                  <a:pt x="145356" y="1"/>
                </a:moveTo>
                <a:lnTo>
                  <a:pt x="145356" y="109018"/>
                </a:lnTo>
                <a:lnTo>
                  <a:pt x="181695" y="109018"/>
                </a:lnTo>
                <a:lnTo>
                  <a:pt x="90848" y="218033"/>
                </a:lnTo>
                <a:lnTo>
                  <a:pt x="0" y="109018"/>
                </a:lnTo>
                <a:lnTo>
                  <a:pt x="36339" y="109018"/>
                </a:lnTo>
                <a:lnTo>
                  <a:pt x="36339" y="1"/>
                </a:lnTo>
                <a:lnTo>
                  <a:pt x="14535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ihandform: Form 12">
            <a:extLst>
              <a:ext uri="{FF2B5EF4-FFF2-40B4-BE49-F238E27FC236}">
                <a16:creationId xmlns:a16="http://schemas.microsoft.com/office/drawing/2014/main" id="{E1C697C0-5660-4E8A-9355-8FC13A3ACEE4}"/>
              </a:ext>
            </a:extLst>
          </p:cNvPr>
          <p:cNvSpPr/>
          <p:nvPr/>
        </p:nvSpPr>
        <p:spPr>
          <a:xfrm>
            <a:off x="4795308" y="2205562"/>
            <a:ext cx="2596836" cy="763469"/>
          </a:xfrm>
          <a:custGeom>
            <a:avLst/>
            <a:gdLst>
              <a:gd name="connsiteX0" fmla="*/ 0 w 2592007"/>
              <a:gd name="connsiteY0" fmla="*/ 71917 h 719173"/>
              <a:gd name="connsiteX1" fmla="*/ 71917 w 2592007"/>
              <a:gd name="connsiteY1" fmla="*/ 0 h 719173"/>
              <a:gd name="connsiteX2" fmla="*/ 2520090 w 2592007"/>
              <a:gd name="connsiteY2" fmla="*/ 0 h 719173"/>
              <a:gd name="connsiteX3" fmla="*/ 2592007 w 2592007"/>
              <a:gd name="connsiteY3" fmla="*/ 71917 h 719173"/>
              <a:gd name="connsiteX4" fmla="*/ 2592007 w 2592007"/>
              <a:gd name="connsiteY4" fmla="*/ 647256 h 719173"/>
              <a:gd name="connsiteX5" fmla="*/ 2520090 w 2592007"/>
              <a:gd name="connsiteY5" fmla="*/ 719173 h 719173"/>
              <a:gd name="connsiteX6" fmla="*/ 71917 w 2592007"/>
              <a:gd name="connsiteY6" fmla="*/ 719173 h 719173"/>
              <a:gd name="connsiteX7" fmla="*/ 0 w 2592007"/>
              <a:gd name="connsiteY7" fmla="*/ 647256 h 719173"/>
              <a:gd name="connsiteX8" fmla="*/ 0 w 2592007"/>
              <a:gd name="connsiteY8" fmla="*/ 71917 h 719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2007" h="719173">
                <a:moveTo>
                  <a:pt x="0" y="71917"/>
                </a:moveTo>
                <a:cubicBezTo>
                  <a:pt x="0" y="32198"/>
                  <a:pt x="32198" y="0"/>
                  <a:pt x="71917" y="0"/>
                </a:cubicBezTo>
                <a:lnTo>
                  <a:pt x="2520090" y="0"/>
                </a:lnTo>
                <a:cubicBezTo>
                  <a:pt x="2559809" y="0"/>
                  <a:pt x="2592007" y="32198"/>
                  <a:pt x="2592007" y="71917"/>
                </a:cubicBezTo>
                <a:lnTo>
                  <a:pt x="2592007" y="647256"/>
                </a:lnTo>
                <a:cubicBezTo>
                  <a:pt x="2592007" y="686975"/>
                  <a:pt x="2559809" y="719173"/>
                  <a:pt x="2520090" y="719173"/>
                </a:cubicBezTo>
                <a:lnTo>
                  <a:pt x="71917" y="719173"/>
                </a:lnTo>
                <a:cubicBezTo>
                  <a:pt x="32198" y="719173"/>
                  <a:pt x="0" y="686975"/>
                  <a:pt x="0" y="647256"/>
                </a:cubicBezTo>
                <a:lnTo>
                  <a:pt x="0" y="71917"/>
                </a:lnTo>
                <a:close/>
              </a:path>
            </a:pathLst>
          </a:custGeom>
          <a:solidFill>
            <a:srgbClr val="46A0D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404" tIns="74404" rIns="74404" bIns="74404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Layer (Datentransformation)</a:t>
            </a:r>
          </a:p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- Gewichtung</a:t>
            </a:r>
          </a:p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- Aktivierung</a:t>
            </a:r>
          </a:p>
        </p:txBody>
      </p:sp>
      <p:sp>
        <p:nvSpPr>
          <p:cNvPr id="12" name="Freihandform: Form 13">
            <a:extLst>
              <a:ext uri="{FF2B5EF4-FFF2-40B4-BE49-F238E27FC236}">
                <a16:creationId xmlns:a16="http://schemas.microsoft.com/office/drawing/2014/main" id="{8043498A-D0D8-4CF5-AB24-CF2921244680}"/>
              </a:ext>
            </a:extLst>
          </p:cNvPr>
          <p:cNvSpPr/>
          <p:nvPr/>
        </p:nvSpPr>
        <p:spPr>
          <a:xfrm>
            <a:off x="6258958" y="3001179"/>
            <a:ext cx="218440" cy="192887"/>
          </a:xfrm>
          <a:custGeom>
            <a:avLst/>
            <a:gdLst>
              <a:gd name="connsiteX0" fmla="*/ 0 w 181695"/>
              <a:gd name="connsiteY0" fmla="*/ 43607 h 218034"/>
              <a:gd name="connsiteX1" fmla="*/ 90848 w 181695"/>
              <a:gd name="connsiteY1" fmla="*/ 43607 h 218034"/>
              <a:gd name="connsiteX2" fmla="*/ 90848 w 181695"/>
              <a:gd name="connsiteY2" fmla="*/ 0 h 218034"/>
              <a:gd name="connsiteX3" fmla="*/ 181695 w 181695"/>
              <a:gd name="connsiteY3" fmla="*/ 109017 h 218034"/>
              <a:gd name="connsiteX4" fmla="*/ 90848 w 181695"/>
              <a:gd name="connsiteY4" fmla="*/ 218034 h 218034"/>
              <a:gd name="connsiteX5" fmla="*/ 90848 w 181695"/>
              <a:gd name="connsiteY5" fmla="*/ 174427 h 218034"/>
              <a:gd name="connsiteX6" fmla="*/ 0 w 181695"/>
              <a:gd name="connsiteY6" fmla="*/ 174427 h 218034"/>
              <a:gd name="connsiteX7" fmla="*/ 0 w 181695"/>
              <a:gd name="connsiteY7" fmla="*/ 43607 h 21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695" h="218034">
                <a:moveTo>
                  <a:pt x="145356" y="1"/>
                </a:moveTo>
                <a:lnTo>
                  <a:pt x="145356" y="109018"/>
                </a:lnTo>
                <a:lnTo>
                  <a:pt x="181695" y="109018"/>
                </a:lnTo>
                <a:lnTo>
                  <a:pt x="90848" y="218033"/>
                </a:lnTo>
                <a:lnTo>
                  <a:pt x="0" y="109018"/>
                </a:lnTo>
                <a:lnTo>
                  <a:pt x="36339" y="109018"/>
                </a:lnTo>
                <a:lnTo>
                  <a:pt x="36339" y="1"/>
                </a:lnTo>
                <a:lnTo>
                  <a:pt x="14535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ihandform: Form 14">
            <a:extLst>
              <a:ext uri="{FF2B5EF4-FFF2-40B4-BE49-F238E27FC236}">
                <a16:creationId xmlns:a16="http://schemas.microsoft.com/office/drawing/2014/main" id="{080B4D64-074F-468A-9099-97D734EFCCD7}"/>
              </a:ext>
            </a:extLst>
          </p:cNvPr>
          <p:cNvSpPr/>
          <p:nvPr/>
        </p:nvSpPr>
        <p:spPr>
          <a:xfrm>
            <a:off x="4795308" y="3226213"/>
            <a:ext cx="2596836" cy="763469"/>
          </a:xfrm>
          <a:custGeom>
            <a:avLst/>
            <a:gdLst>
              <a:gd name="connsiteX0" fmla="*/ 0 w 2592007"/>
              <a:gd name="connsiteY0" fmla="*/ 71917 h 719173"/>
              <a:gd name="connsiteX1" fmla="*/ 71917 w 2592007"/>
              <a:gd name="connsiteY1" fmla="*/ 0 h 719173"/>
              <a:gd name="connsiteX2" fmla="*/ 2520090 w 2592007"/>
              <a:gd name="connsiteY2" fmla="*/ 0 h 719173"/>
              <a:gd name="connsiteX3" fmla="*/ 2592007 w 2592007"/>
              <a:gd name="connsiteY3" fmla="*/ 71917 h 719173"/>
              <a:gd name="connsiteX4" fmla="*/ 2592007 w 2592007"/>
              <a:gd name="connsiteY4" fmla="*/ 647256 h 719173"/>
              <a:gd name="connsiteX5" fmla="*/ 2520090 w 2592007"/>
              <a:gd name="connsiteY5" fmla="*/ 719173 h 719173"/>
              <a:gd name="connsiteX6" fmla="*/ 71917 w 2592007"/>
              <a:gd name="connsiteY6" fmla="*/ 719173 h 719173"/>
              <a:gd name="connsiteX7" fmla="*/ 0 w 2592007"/>
              <a:gd name="connsiteY7" fmla="*/ 647256 h 719173"/>
              <a:gd name="connsiteX8" fmla="*/ 0 w 2592007"/>
              <a:gd name="connsiteY8" fmla="*/ 71917 h 719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2007" h="719173">
                <a:moveTo>
                  <a:pt x="0" y="71917"/>
                </a:moveTo>
                <a:cubicBezTo>
                  <a:pt x="0" y="32198"/>
                  <a:pt x="32198" y="0"/>
                  <a:pt x="71917" y="0"/>
                </a:cubicBezTo>
                <a:lnTo>
                  <a:pt x="2520090" y="0"/>
                </a:lnTo>
                <a:cubicBezTo>
                  <a:pt x="2559809" y="0"/>
                  <a:pt x="2592007" y="32198"/>
                  <a:pt x="2592007" y="71917"/>
                </a:cubicBezTo>
                <a:lnTo>
                  <a:pt x="2592007" y="647256"/>
                </a:lnTo>
                <a:cubicBezTo>
                  <a:pt x="2592007" y="686975"/>
                  <a:pt x="2559809" y="719173"/>
                  <a:pt x="2520090" y="719173"/>
                </a:cubicBezTo>
                <a:lnTo>
                  <a:pt x="71917" y="719173"/>
                </a:lnTo>
                <a:cubicBezTo>
                  <a:pt x="32198" y="719173"/>
                  <a:pt x="0" y="686975"/>
                  <a:pt x="0" y="647256"/>
                </a:cubicBezTo>
                <a:lnTo>
                  <a:pt x="0" y="71917"/>
                </a:lnTo>
                <a:close/>
              </a:path>
            </a:pathLst>
          </a:custGeom>
          <a:solidFill>
            <a:srgbClr val="46A0D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404" tIns="74404" rIns="74404" bIns="74404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Layer (Datentransformation)</a:t>
            </a:r>
          </a:p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- Gewichtung</a:t>
            </a:r>
          </a:p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- Aktivierung</a:t>
            </a:r>
          </a:p>
        </p:txBody>
      </p:sp>
      <p:sp>
        <p:nvSpPr>
          <p:cNvPr id="14" name="Freihandform: Form 15">
            <a:extLst>
              <a:ext uri="{FF2B5EF4-FFF2-40B4-BE49-F238E27FC236}">
                <a16:creationId xmlns:a16="http://schemas.microsoft.com/office/drawing/2014/main" id="{D0560B43-F5F3-482D-A9FA-952C38057309}"/>
              </a:ext>
            </a:extLst>
          </p:cNvPr>
          <p:cNvSpPr/>
          <p:nvPr/>
        </p:nvSpPr>
        <p:spPr>
          <a:xfrm>
            <a:off x="6258958" y="4021830"/>
            <a:ext cx="218440" cy="192887"/>
          </a:xfrm>
          <a:custGeom>
            <a:avLst/>
            <a:gdLst>
              <a:gd name="connsiteX0" fmla="*/ 0 w 181695"/>
              <a:gd name="connsiteY0" fmla="*/ 43607 h 218034"/>
              <a:gd name="connsiteX1" fmla="*/ 90848 w 181695"/>
              <a:gd name="connsiteY1" fmla="*/ 43607 h 218034"/>
              <a:gd name="connsiteX2" fmla="*/ 90848 w 181695"/>
              <a:gd name="connsiteY2" fmla="*/ 0 h 218034"/>
              <a:gd name="connsiteX3" fmla="*/ 181695 w 181695"/>
              <a:gd name="connsiteY3" fmla="*/ 109017 h 218034"/>
              <a:gd name="connsiteX4" fmla="*/ 90848 w 181695"/>
              <a:gd name="connsiteY4" fmla="*/ 218034 h 218034"/>
              <a:gd name="connsiteX5" fmla="*/ 90848 w 181695"/>
              <a:gd name="connsiteY5" fmla="*/ 174427 h 218034"/>
              <a:gd name="connsiteX6" fmla="*/ 0 w 181695"/>
              <a:gd name="connsiteY6" fmla="*/ 174427 h 218034"/>
              <a:gd name="connsiteX7" fmla="*/ 0 w 181695"/>
              <a:gd name="connsiteY7" fmla="*/ 43607 h 21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695" h="218034">
                <a:moveTo>
                  <a:pt x="145356" y="1"/>
                </a:moveTo>
                <a:lnTo>
                  <a:pt x="145356" y="109018"/>
                </a:lnTo>
                <a:lnTo>
                  <a:pt x="181695" y="109018"/>
                </a:lnTo>
                <a:lnTo>
                  <a:pt x="90848" y="218033"/>
                </a:lnTo>
                <a:lnTo>
                  <a:pt x="0" y="109018"/>
                </a:lnTo>
                <a:lnTo>
                  <a:pt x="36339" y="109018"/>
                </a:lnTo>
                <a:lnTo>
                  <a:pt x="36339" y="1"/>
                </a:lnTo>
                <a:lnTo>
                  <a:pt x="14535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Freihandform: Form 16">
            <a:extLst>
              <a:ext uri="{FF2B5EF4-FFF2-40B4-BE49-F238E27FC236}">
                <a16:creationId xmlns:a16="http://schemas.microsoft.com/office/drawing/2014/main" id="{38A4CFF6-0B67-4B56-9722-A4FC3892CE81}"/>
              </a:ext>
            </a:extLst>
          </p:cNvPr>
          <p:cNvSpPr/>
          <p:nvPr/>
        </p:nvSpPr>
        <p:spPr>
          <a:xfrm>
            <a:off x="4795308" y="4246864"/>
            <a:ext cx="2596836" cy="763469"/>
          </a:xfrm>
          <a:custGeom>
            <a:avLst/>
            <a:gdLst>
              <a:gd name="connsiteX0" fmla="*/ 0 w 2592007"/>
              <a:gd name="connsiteY0" fmla="*/ 71917 h 719173"/>
              <a:gd name="connsiteX1" fmla="*/ 71917 w 2592007"/>
              <a:gd name="connsiteY1" fmla="*/ 0 h 719173"/>
              <a:gd name="connsiteX2" fmla="*/ 2520090 w 2592007"/>
              <a:gd name="connsiteY2" fmla="*/ 0 h 719173"/>
              <a:gd name="connsiteX3" fmla="*/ 2592007 w 2592007"/>
              <a:gd name="connsiteY3" fmla="*/ 71917 h 719173"/>
              <a:gd name="connsiteX4" fmla="*/ 2592007 w 2592007"/>
              <a:gd name="connsiteY4" fmla="*/ 647256 h 719173"/>
              <a:gd name="connsiteX5" fmla="*/ 2520090 w 2592007"/>
              <a:gd name="connsiteY5" fmla="*/ 719173 h 719173"/>
              <a:gd name="connsiteX6" fmla="*/ 71917 w 2592007"/>
              <a:gd name="connsiteY6" fmla="*/ 719173 h 719173"/>
              <a:gd name="connsiteX7" fmla="*/ 0 w 2592007"/>
              <a:gd name="connsiteY7" fmla="*/ 647256 h 719173"/>
              <a:gd name="connsiteX8" fmla="*/ 0 w 2592007"/>
              <a:gd name="connsiteY8" fmla="*/ 71917 h 719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2007" h="719173">
                <a:moveTo>
                  <a:pt x="0" y="71917"/>
                </a:moveTo>
                <a:cubicBezTo>
                  <a:pt x="0" y="32198"/>
                  <a:pt x="32198" y="0"/>
                  <a:pt x="71917" y="0"/>
                </a:cubicBezTo>
                <a:lnTo>
                  <a:pt x="2520090" y="0"/>
                </a:lnTo>
                <a:cubicBezTo>
                  <a:pt x="2559809" y="0"/>
                  <a:pt x="2592007" y="32198"/>
                  <a:pt x="2592007" y="71917"/>
                </a:cubicBezTo>
                <a:lnTo>
                  <a:pt x="2592007" y="647256"/>
                </a:lnTo>
                <a:cubicBezTo>
                  <a:pt x="2592007" y="686975"/>
                  <a:pt x="2559809" y="719173"/>
                  <a:pt x="2520090" y="719173"/>
                </a:cubicBezTo>
                <a:lnTo>
                  <a:pt x="71917" y="719173"/>
                </a:lnTo>
                <a:cubicBezTo>
                  <a:pt x="32198" y="719173"/>
                  <a:pt x="0" y="686975"/>
                  <a:pt x="0" y="647256"/>
                </a:cubicBezTo>
                <a:lnTo>
                  <a:pt x="0" y="7191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404" tIns="74404" rIns="74404" bIns="74404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Vorhersage</a:t>
            </a:r>
          </a:p>
        </p:txBody>
      </p:sp>
      <p:sp>
        <p:nvSpPr>
          <p:cNvPr id="16" name="Freihandform: Form 17">
            <a:extLst>
              <a:ext uri="{FF2B5EF4-FFF2-40B4-BE49-F238E27FC236}">
                <a16:creationId xmlns:a16="http://schemas.microsoft.com/office/drawing/2014/main" id="{FBB254CA-544B-422B-84B8-CFC601F87A5C}"/>
              </a:ext>
            </a:extLst>
          </p:cNvPr>
          <p:cNvSpPr/>
          <p:nvPr/>
        </p:nvSpPr>
        <p:spPr>
          <a:xfrm>
            <a:off x="6258958" y="5042481"/>
            <a:ext cx="218440" cy="192887"/>
          </a:xfrm>
          <a:custGeom>
            <a:avLst/>
            <a:gdLst>
              <a:gd name="connsiteX0" fmla="*/ 0 w 181695"/>
              <a:gd name="connsiteY0" fmla="*/ 43607 h 218034"/>
              <a:gd name="connsiteX1" fmla="*/ 90848 w 181695"/>
              <a:gd name="connsiteY1" fmla="*/ 43607 h 218034"/>
              <a:gd name="connsiteX2" fmla="*/ 90848 w 181695"/>
              <a:gd name="connsiteY2" fmla="*/ 0 h 218034"/>
              <a:gd name="connsiteX3" fmla="*/ 181695 w 181695"/>
              <a:gd name="connsiteY3" fmla="*/ 109017 h 218034"/>
              <a:gd name="connsiteX4" fmla="*/ 90848 w 181695"/>
              <a:gd name="connsiteY4" fmla="*/ 218034 h 218034"/>
              <a:gd name="connsiteX5" fmla="*/ 90848 w 181695"/>
              <a:gd name="connsiteY5" fmla="*/ 174427 h 218034"/>
              <a:gd name="connsiteX6" fmla="*/ 0 w 181695"/>
              <a:gd name="connsiteY6" fmla="*/ 174427 h 218034"/>
              <a:gd name="connsiteX7" fmla="*/ 0 w 181695"/>
              <a:gd name="connsiteY7" fmla="*/ 43607 h 21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695" h="218034">
                <a:moveTo>
                  <a:pt x="145356" y="1"/>
                </a:moveTo>
                <a:lnTo>
                  <a:pt x="145356" y="109018"/>
                </a:lnTo>
                <a:lnTo>
                  <a:pt x="181695" y="109018"/>
                </a:lnTo>
                <a:lnTo>
                  <a:pt x="90848" y="218033"/>
                </a:lnTo>
                <a:lnTo>
                  <a:pt x="0" y="109018"/>
                </a:lnTo>
                <a:lnTo>
                  <a:pt x="36339" y="109018"/>
                </a:lnTo>
                <a:lnTo>
                  <a:pt x="36339" y="1"/>
                </a:lnTo>
                <a:lnTo>
                  <a:pt x="14535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reihandform: Form 18">
            <a:extLst>
              <a:ext uri="{FF2B5EF4-FFF2-40B4-BE49-F238E27FC236}">
                <a16:creationId xmlns:a16="http://schemas.microsoft.com/office/drawing/2014/main" id="{E1877CB8-8AF2-485B-8E0E-76DC8E23CBC2}"/>
              </a:ext>
            </a:extLst>
          </p:cNvPr>
          <p:cNvSpPr/>
          <p:nvPr/>
        </p:nvSpPr>
        <p:spPr>
          <a:xfrm>
            <a:off x="4795308" y="5267516"/>
            <a:ext cx="2596836" cy="763469"/>
          </a:xfrm>
          <a:custGeom>
            <a:avLst/>
            <a:gdLst>
              <a:gd name="connsiteX0" fmla="*/ 0 w 2592007"/>
              <a:gd name="connsiteY0" fmla="*/ 71917 h 719173"/>
              <a:gd name="connsiteX1" fmla="*/ 71917 w 2592007"/>
              <a:gd name="connsiteY1" fmla="*/ 0 h 719173"/>
              <a:gd name="connsiteX2" fmla="*/ 2520090 w 2592007"/>
              <a:gd name="connsiteY2" fmla="*/ 0 h 719173"/>
              <a:gd name="connsiteX3" fmla="*/ 2592007 w 2592007"/>
              <a:gd name="connsiteY3" fmla="*/ 71917 h 719173"/>
              <a:gd name="connsiteX4" fmla="*/ 2592007 w 2592007"/>
              <a:gd name="connsiteY4" fmla="*/ 647256 h 719173"/>
              <a:gd name="connsiteX5" fmla="*/ 2520090 w 2592007"/>
              <a:gd name="connsiteY5" fmla="*/ 719173 h 719173"/>
              <a:gd name="connsiteX6" fmla="*/ 71917 w 2592007"/>
              <a:gd name="connsiteY6" fmla="*/ 719173 h 719173"/>
              <a:gd name="connsiteX7" fmla="*/ 0 w 2592007"/>
              <a:gd name="connsiteY7" fmla="*/ 647256 h 719173"/>
              <a:gd name="connsiteX8" fmla="*/ 0 w 2592007"/>
              <a:gd name="connsiteY8" fmla="*/ 71917 h 719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2007" h="719173">
                <a:moveTo>
                  <a:pt x="0" y="71917"/>
                </a:moveTo>
                <a:cubicBezTo>
                  <a:pt x="0" y="32198"/>
                  <a:pt x="32198" y="0"/>
                  <a:pt x="71917" y="0"/>
                </a:cubicBezTo>
                <a:lnTo>
                  <a:pt x="2520090" y="0"/>
                </a:lnTo>
                <a:cubicBezTo>
                  <a:pt x="2559809" y="0"/>
                  <a:pt x="2592007" y="32198"/>
                  <a:pt x="2592007" y="71917"/>
                </a:cubicBezTo>
                <a:lnTo>
                  <a:pt x="2592007" y="647256"/>
                </a:lnTo>
                <a:cubicBezTo>
                  <a:pt x="2592007" y="686975"/>
                  <a:pt x="2559809" y="719173"/>
                  <a:pt x="2520090" y="719173"/>
                </a:cubicBezTo>
                <a:lnTo>
                  <a:pt x="71917" y="719173"/>
                </a:lnTo>
                <a:cubicBezTo>
                  <a:pt x="32198" y="719173"/>
                  <a:pt x="0" y="686975"/>
                  <a:pt x="0" y="647256"/>
                </a:cubicBezTo>
                <a:lnTo>
                  <a:pt x="0" y="71917"/>
                </a:lnTo>
                <a:close/>
              </a:path>
            </a:pathLst>
          </a:custGeom>
          <a:solidFill>
            <a:srgbClr val="00B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404" tIns="74404" rIns="74404" bIns="74404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Verlustfunktion</a:t>
            </a:r>
          </a:p>
        </p:txBody>
      </p:sp>
      <p:sp>
        <p:nvSpPr>
          <p:cNvPr id="18" name="Freihandform: Form 19">
            <a:extLst>
              <a:ext uri="{FF2B5EF4-FFF2-40B4-BE49-F238E27FC236}">
                <a16:creationId xmlns:a16="http://schemas.microsoft.com/office/drawing/2014/main" id="{03B6D002-A88B-43B7-A01B-3FF4654AB8CC}"/>
              </a:ext>
            </a:extLst>
          </p:cNvPr>
          <p:cNvSpPr/>
          <p:nvPr/>
        </p:nvSpPr>
        <p:spPr>
          <a:xfrm rot="5400000">
            <a:off x="7464046" y="1558703"/>
            <a:ext cx="218035" cy="214299"/>
          </a:xfrm>
          <a:custGeom>
            <a:avLst/>
            <a:gdLst>
              <a:gd name="connsiteX0" fmla="*/ 0 w 181695"/>
              <a:gd name="connsiteY0" fmla="*/ 43607 h 218034"/>
              <a:gd name="connsiteX1" fmla="*/ 90848 w 181695"/>
              <a:gd name="connsiteY1" fmla="*/ 43607 h 218034"/>
              <a:gd name="connsiteX2" fmla="*/ 90848 w 181695"/>
              <a:gd name="connsiteY2" fmla="*/ 0 h 218034"/>
              <a:gd name="connsiteX3" fmla="*/ 181695 w 181695"/>
              <a:gd name="connsiteY3" fmla="*/ 109017 h 218034"/>
              <a:gd name="connsiteX4" fmla="*/ 90848 w 181695"/>
              <a:gd name="connsiteY4" fmla="*/ 218034 h 218034"/>
              <a:gd name="connsiteX5" fmla="*/ 90848 w 181695"/>
              <a:gd name="connsiteY5" fmla="*/ 174427 h 218034"/>
              <a:gd name="connsiteX6" fmla="*/ 0 w 181695"/>
              <a:gd name="connsiteY6" fmla="*/ 174427 h 218034"/>
              <a:gd name="connsiteX7" fmla="*/ 0 w 181695"/>
              <a:gd name="connsiteY7" fmla="*/ 43607 h 21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695" h="218034">
                <a:moveTo>
                  <a:pt x="145356" y="1"/>
                </a:moveTo>
                <a:lnTo>
                  <a:pt x="145356" y="109018"/>
                </a:lnTo>
                <a:lnTo>
                  <a:pt x="181695" y="109018"/>
                </a:lnTo>
                <a:lnTo>
                  <a:pt x="90848" y="218033"/>
                </a:lnTo>
                <a:lnTo>
                  <a:pt x="0" y="109018"/>
                </a:lnTo>
                <a:lnTo>
                  <a:pt x="36339" y="109018"/>
                </a:lnTo>
                <a:lnTo>
                  <a:pt x="36339" y="1"/>
                </a:lnTo>
                <a:lnTo>
                  <a:pt x="14535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AB83655-FB23-4C49-848F-9FD21DA74962}"/>
              </a:ext>
            </a:extLst>
          </p:cNvPr>
          <p:cNvSpPr txBox="1"/>
          <p:nvPr/>
        </p:nvSpPr>
        <p:spPr>
          <a:xfrm>
            <a:off x="7839671" y="1408333"/>
            <a:ext cx="2244666" cy="52322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Merkmalsausprägungen</a:t>
            </a:r>
          </a:p>
          <a:p>
            <a:pPr algn="ctr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Resultate</a:t>
            </a:r>
          </a:p>
        </p:txBody>
      </p:sp>
      <p:sp>
        <p:nvSpPr>
          <p:cNvPr id="20" name="Geschweifte Klammer rechts 19">
            <a:extLst>
              <a:ext uri="{FF2B5EF4-FFF2-40B4-BE49-F238E27FC236}">
                <a16:creationId xmlns:a16="http://schemas.microsoft.com/office/drawing/2014/main" id="{82A1B9A1-9075-47CD-964F-1DFAA32DE5C9}"/>
              </a:ext>
            </a:extLst>
          </p:cNvPr>
          <p:cNvSpPr/>
          <p:nvPr/>
        </p:nvSpPr>
        <p:spPr>
          <a:xfrm>
            <a:off x="7502466" y="2076971"/>
            <a:ext cx="298676" cy="2039735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C00BE07-E31D-4983-BCC3-AD4E66B0F60F}"/>
              </a:ext>
            </a:extLst>
          </p:cNvPr>
          <p:cNvSpPr txBox="1"/>
          <p:nvPr/>
        </p:nvSpPr>
        <p:spPr>
          <a:xfrm>
            <a:off x="8016371" y="2512062"/>
            <a:ext cx="170263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Aufbau des neuronalen Netzes</a:t>
            </a:r>
          </a:p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Repräsentations-ebene der Daten  </a:t>
            </a:r>
          </a:p>
        </p:txBody>
      </p:sp>
      <p:sp>
        <p:nvSpPr>
          <p:cNvPr id="22" name="Freihandform: Form 23">
            <a:extLst>
              <a:ext uri="{FF2B5EF4-FFF2-40B4-BE49-F238E27FC236}">
                <a16:creationId xmlns:a16="http://schemas.microsoft.com/office/drawing/2014/main" id="{8AC9FB38-9C99-4D6A-BC52-C0198C14E5C4}"/>
              </a:ext>
            </a:extLst>
          </p:cNvPr>
          <p:cNvSpPr/>
          <p:nvPr/>
        </p:nvSpPr>
        <p:spPr>
          <a:xfrm rot="16200000">
            <a:off x="7401141" y="4479659"/>
            <a:ext cx="218035" cy="214297"/>
          </a:xfrm>
          <a:custGeom>
            <a:avLst/>
            <a:gdLst>
              <a:gd name="connsiteX0" fmla="*/ 0 w 181695"/>
              <a:gd name="connsiteY0" fmla="*/ 43607 h 218034"/>
              <a:gd name="connsiteX1" fmla="*/ 90848 w 181695"/>
              <a:gd name="connsiteY1" fmla="*/ 43607 h 218034"/>
              <a:gd name="connsiteX2" fmla="*/ 90848 w 181695"/>
              <a:gd name="connsiteY2" fmla="*/ 0 h 218034"/>
              <a:gd name="connsiteX3" fmla="*/ 181695 w 181695"/>
              <a:gd name="connsiteY3" fmla="*/ 109017 h 218034"/>
              <a:gd name="connsiteX4" fmla="*/ 90848 w 181695"/>
              <a:gd name="connsiteY4" fmla="*/ 218034 h 218034"/>
              <a:gd name="connsiteX5" fmla="*/ 90848 w 181695"/>
              <a:gd name="connsiteY5" fmla="*/ 174427 h 218034"/>
              <a:gd name="connsiteX6" fmla="*/ 0 w 181695"/>
              <a:gd name="connsiteY6" fmla="*/ 174427 h 218034"/>
              <a:gd name="connsiteX7" fmla="*/ 0 w 181695"/>
              <a:gd name="connsiteY7" fmla="*/ 43607 h 21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695" h="218034">
                <a:moveTo>
                  <a:pt x="145356" y="1"/>
                </a:moveTo>
                <a:lnTo>
                  <a:pt x="145356" y="109018"/>
                </a:lnTo>
                <a:lnTo>
                  <a:pt x="181695" y="109018"/>
                </a:lnTo>
                <a:lnTo>
                  <a:pt x="90848" y="218033"/>
                </a:lnTo>
                <a:lnTo>
                  <a:pt x="0" y="109018"/>
                </a:lnTo>
                <a:lnTo>
                  <a:pt x="36339" y="109018"/>
                </a:lnTo>
                <a:lnTo>
                  <a:pt x="36339" y="1"/>
                </a:lnTo>
                <a:lnTo>
                  <a:pt x="14535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2923B7C-B8B6-41EF-9891-98032A6E5838}"/>
              </a:ext>
            </a:extLst>
          </p:cNvPr>
          <p:cNvSpPr txBox="1"/>
          <p:nvPr/>
        </p:nvSpPr>
        <p:spPr>
          <a:xfrm>
            <a:off x="7834215" y="4329970"/>
            <a:ext cx="2250123" cy="52322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Prognose</a:t>
            </a:r>
          </a:p>
          <a:p>
            <a:pPr algn="ctr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Klassifizierung                </a:t>
            </a:r>
          </a:p>
        </p:txBody>
      </p:sp>
      <p:sp>
        <p:nvSpPr>
          <p:cNvPr id="24" name="Freihandform: Form 25">
            <a:extLst>
              <a:ext uri="{FF2B5EF4-FFF2-40B4-BE49-F238E27FC236}">
                <a16:creationId xmlns:a16="http://schemas.microsoft.com/office/drawing/2014/main" id="{6583AED5-E24F-4947-BDF0-8733AFDCCB88}"/>
              </a:ext>
            </a:extLst>
          </p:cNvPr>
          <p:cNvSpPr/>
          <p:nvPr/>
        </p:nvSpPr>
        <p:spPr>
          <a:xfrm rot="16200000">
            <a:off x="7401141" y="5492849"/>
            <a:ext cx="218035" cy="214297"/>
          </a:xfrm>
          <a:custGeom>
            <a:avLst/>
            <a:gdLst>
              <a:gd name="connsiteX0" fmla="*/ 0 w 181695"/>
              <a:gd name="connsiteY0" fmla="*/ 43607 h 218034"/>
              <a:gd name="connsiteX1" fmla="*/ 90848 w 181695"/>
              <a:gd name="connsiteY1" fmla="*/ 43607 h 218034"/>
              <a:gd name="connsiteX2" fmla="*/ 90848 w 181695"/>
              <a:gd name="connsiteY2" fmla="*/ 0 h 218034"/>
              <a:gd name="connsiteX3" fmla="*/ 181695 w 181695"/>
              <a:gd name="connsiteY3" fmla="*/ 109017 h 218034"/>
              <a:gd name="connsiteX4" fmla="*/ 90848 w 181695"/>
              <a:gd name="connsiteY4" fmla="*/ 218034 h 218034"/>
              <a:gd name="connsiteX5" fmla="*/ 90848 w 181695"/>
              <a:gd name="connsiteY5" fmla="*/ 174427 h 218034"/>
              <a:gd name="connsiteX6" fmla="*/ 0 w 181695"/>
              <a:gd name="connsiteY6" fmla="*/ 174427 h 218034"/>
              <a:gd name="connsiteX7" fmla="*/ 0 w 181695"/>
              <a:gd name="connsiteY7" fmla="*/ 43607 h 21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695" h="218034">
                <a:moveTo>
                  <a:pt x="145356" y="1"/>
                </a:moveTo>
                <a:lnTo>
                  <a:pt x="145356" y="109018"/>
                </a:lnTo>
                <a:lnTo>
                  <a:pt x="181695" y="109018"/>
                </a:lnTo>
                <a:lnTo>
                  <a:pt x="90848" y="218033"/>
                </a:lnTo>
                <a:lnTo>
                  <a:pt x="0" y="109018"/>
                </a:lnTo>
                <a:lnTo>
                  <a:pt x="36339" y="109018"/>
                </a:lnTo>
                <a:lnTo>
                  <a:pt x="36339" y="1"/>
                </a:lnTo>
                <a:lnTo>
                  <a:pt x="14535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D1C4322-BBEC-4C9E-A18F-7C3BC1232F33}"/>
              </a:ext>
            </a:extLst>
          </p:cNvPr>
          <p:cNvSpPr txBox="1"/>
          <p:nvPr/>
        </p:nvSpPr>
        <p:spPr>
          <a:xfrm>
            <a:off x="7834215" y="5443174"/>
            <a:ext cx="2250122" cy="3077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Verlustmaß</a:t>
            </a:r>
          </a:p>
        </p:txBody>
      </p:sp>
      <p:sp>
        <p:nvSpPr>
          <p:cNvPr id="26" name="Freihandform: Form 27">
            <a:extLst>
              <a:ext uri="{FF2B5EF4-FFF2-40B4-BE49-F238E27FC236}">
                <a16:creationId xmlns:a16="http://schemas.microsoft.com/office/drawing/2014/main" id="{DA3E0F4A-3B1A-4B94-A83C-F718A21E61EF}"/>
              </a:ext>
            </a:extLst>
          </p:cNvPr>
          <p:cNvSpPr/>
          <p:nvPr/>
        </p:nvSpPr>
        <p:spPr>
          <a:xfrm>
            <a:off x="1919290" y="2205562"/>
            <a:ext cx="1830647" cy="2933363"/>
          </a:xfrm>
          <a:custGeom>
            <a:avLst/>
            <a:gdLst>
              <a:gd name="connsiteX0" fmla="*/ 0 w 2592007"/>
              <a:gd name="connsiteY0" fmla="*/ 71917 h 719173"/>
              <a:gd name="connsiteX1" fmla="*/ 71917 w 2592007"/>
              <a:gd name="connsiteY1" fmla="*/ 0 h 719173"/>
              <a:gd name="connsiteX2" fmla="*/ 2520090 w 2592007"/>
              <a:gd name="connsiteY2" fmla="*/ 0 h 719173"/>
              <a:gd name="connsiteX3" fmla="*/ 2592007 w 2592007"/>
              <a:gd name="connsiteY3" fmla="*/ 71917 h 719173"/>
              <a:gd name="connsiteX4" fmla="*/ 2592007 w 2592007"/>
              <a:gd name="connsiteY4" fmla="*/ 647256 h 719173"/>
              <a:gd name="connsiteX5" fmla="*/ 2520090 w 2592007"/>
              <a:gd name="connsiteY5" fmla="*/ 719173 h 719173"/>
              <a:gd name="connsiteX6" fmla="*/ 71917 w 2592007"/>
              <a:gd name="connsiteY6" fmla="*/ 719173 h 719173"/>
              <a:gd name="connsiteX7" fmla="*/ 0 w 2592007"/>
              <a:gd name="connsiteY7" fmla="*/ 647256 h 719173"/>
              <a:gd name="connsiteX8" fmla="*/ 0 w 2592007"/>
              <a:gd name="connsiteY8" fmla="*/ 71917 h 719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2007" h="719173">
                <a:moveTo>
                  <a:pt x="0" y="71917"/>
                </a:moveTo>
                <a:cubicBezTo>
                  <a:pt x="0" y="32198"/>
                  <a:pt x="32198" y="0"/>
                  <a:pt x="71917" y="0"/>
                </a:cubicBezTo>
                <a:lnTo>
                  <a:pt x="2520090" y="0"/>
                </a:lnTo>
                <a:cubicBezTo>
                  <a:pt x="2559809" y="0"/>
                  <a:pt x="2592007" y="32198"/>
                  <a:pt x="2592007" y="71917"/>
                </a:cubicBezTo>
                <a:lnTo>
                  <a:pt x="2592007" y="647256"/>
                </a:lnTo>
                <a:cubicBezTo>
                  <a:pt x="2592007" y="686975"/>
                  <a:pt x="2559809" y="719173"/>
                  <a:pt x="2520090" y="719173"/>
                </a:cubicBezTo>
                <a:lnTo>
                  <a:pt x="71917" y="719173"/>
                </a:lnTo>
                <a:cubicBezTo>
                  <a:pt x="32198" y="719173"/>
                  <a:pt x="0" y="686975"/>
                  <a:pt x="0" y="647256"/>
                </a:cubicBezTo>
                <a:lnTo>
                  <a:pt x="0" y="71917"/>
                </a:lnTo>
                <a:close/>
              </a:path>
            </a:pathLst>
          </a:custGeom>
          <a:solidFill>
            <a:srgbClr val="46A0D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404" tIns="74404" rIns="74404" bIns="74404" numCol="1" spcCol="1270" anchor="ctr" anchorCtr="0">
            <a:noAutofit/>
          </a:bodyPr>
          <a:lstStyle/>
          <a:p>
            <a:pPr defTabSz="622300">
              <a:lnSpc>
                <a:spcPct val="90000"/>
              </a:lnSpc>
              <a:spcAft>
                <a:spcPct val="35000"/>
              </a:spcAft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Optimierungskern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Tx/>
              <a:buChar char="-"/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Bestimmung des Gradienten der Verlustfunktion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Tx/>
              <a:buChar char="-"/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Bestimmung Update der Gewichte</a:t>
            </a:r>
          </a:p>
          <a:p>
            <a:pPr marL="285750" indent="-285750" defTabSz="622300">
              <a:lnSpc>
                <a:spcPct val="90000"/>
              </a:lnSpc>
              <a:spcAft>
                <a:spcPct val="35000"/>
              </a:spcAft>
              <a:buFontTx/>
              <a:buChar char="-"/>
            </a:pPr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Pfeil: gebogen 28">
            <a:extLst>
              <a:ext uri="{FF2B5EF4-FFF2-40B4-BE49-F238E27FC236}">
                <a16:creationId xmlns:a16="http://schemas.microsoft.com/office/drawing/2014/main" id="{BC8A8E8A-A3EC-4EFC-BC63-D59408D66943}"/>
              </a:ext>
            </a:extLst>
          </p:cNvPr>
          <p:cNvSpPr/>
          <p:nvPr/>
        </p:nvSpPr>
        <p:spPr>
          <a:xfrm rot="5400000" flipH="1" flipV="1">
            <a:off x="3352204" y="4477575"/>
            <a:ext cx="539273" cy="2007472"/>
          </a:xfrm>
          <a:prstGeom prst="bentArrow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ihandform: Form 29">
            <a:extLst>
              <a:ext uri="{FF2B5EF4-FFF2-40B4-BE49-F238E27FC236}">
                <a16:creationId xmlns:a16="http://schemas.microsoft.com/office/drawing/2014/main" id="{2B09EC25-0ED9-42FB-A17B-FC89AA6D248B}"/>
              </a:ext>
            </a:extLst>
          </p:cNvPr>
          <p:cNvSpPr/>
          <p:nvPr/>
        </p:nvSpPr>
        <p:spPr>
          <a:xfrm rot="16200000">
            <a:off x="4165719" y="2271404"/>
            <a:ext cx="252000" cy="677437"/>
          </a:xfrm>
          <a:custGeom>
            <a:avLst/>
            <a:gdLst>
              <a:gd name="connsiteX0" fmla="*/ 0 w 181695"/>
              <a:gd name="connsiteY0" fmla="*/ 43607 h 218034"/>
              <a:gd name="connsiteX1" fmla="*/ 90848 w 181695"/>
              <a:gd name="connsiteY1" fmla="*/ 43607 h 218034"/>
              <a:gd name="connsiteX2" fmla="*/ 90848 w 181695"/>
              <a:gd name="connsiteY2" fmla="*/ 0 h 218034"/>
              <a:gd name="connsiteX3" fmla="*/ 181695 w 181695"/>
              <a:gd name="connsiteY3" fmla="*/ 109017 h 218034"/>
              <a:gd name="connsiteX4" fmla="*/ 90848 w 181695"/>
              <a:gd name="connsiteY4" fmla="*/ 218034 h 218034"/>
              <a:gd name="connsiteX5" fmla="*/ 90848 w 181695"/>
              <a:gd name="connsiteY5" fmla="*/ 174427 h 218034"/>
              <a:gd name="connsiteX6" fmla="*/ 0 w 181695"/>
              <a:gd name="connsiteY6" fmla="*/ 174427 h 218034"/>
              <a:gd name="connsiteX7" fmla="*/ 0 w 181695"/>
              <a:gd name="connsiteY7" fmla="*/ 43607 h 21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695" h="218034">
                <a:moveTo>
                  <a:pt x="145356" y="1"/>
                </a:moveTo>
                <a:lnTo>
                  <a:pt x="145356" y="109018"/>
                </a:lnTo>
                <a:lnTo>
                  <a:pt x="181695" y="109018"/>
                </a:lnTo>
                <a:lnTo>
                  <a:pt x="90848" y="218033"/>
                </a:lnTo>
                <a:lnTo>
                  <a:pt x="0" y="109018"/>
                </a:lnTo>
                <a:lnTo>
                  <a:pt x="36339" y="109018"/>
                </a:lnTo>
                <a:lnTo>
                  <a:pt x="36339" y="1"/>
                </a:lnTo>
                <a:lnTo>
                  <a:pt x="14535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Freihandform: Form 30">
            <a:extLst>
              <a:ext uri="{FF2B5EF4-FFF2-40B4-BE49-F238E27FC236}">
                <a16:creationId xmlns:a16="http://schemas.microsoft.com/office/drawing/2014/main" id="{D1349C00-8BAE-46E1-B2BC-BE42F850BD3C}"/>
              </a:ext>
            </a:extLst>
          </p:cNvPr>
          <p:cNvSpPr/>
          <p:nvPr/>
        </p:nvSpPr>
        <p:spPr>
          <a:xfrm rot="16200000">
            <a:off x="4165719" y="3269228"/>
            <a:ext cx="252000" cy="677437"/>
          </a:xfrm>
          <a:custGeom>
            <a:avLst/>
            <a:gdLst>
              <a:gd name="connsiteX0" fmla="*/ 0 w 181695"/>
              <a:gd name="connsiteY0" fmla="*/ 43607 h 218034"/>
              <a:gd name="connsiteX1" fmla="*/ 90848 w 181695"/>
              <a:gd name="connsiteY1" fmla="*/ 43607 h 218034"/>
              <a:gd name="connsiteX2" fmla="*/ 90848 w 181695"/>
              <a:gd name="connsiteY2" fmla="*/ 0 h 218034"/>
              <a:gd name="connsiteX3" fmla="*/ 181695 w 181695"/>
              <a:gd name="connsiteY3" fmla="*/ 109017 h 218034"/>
              <a:gd name="connsiteX4" fmla="*/ 90848 w 181695"/>
              <a:gd name="connsiteY4" fmla="*/ 218034 h 218034"/>
              <a:gd name="connsiteX5" fmla="*/ 90848 w 181695"/>
              <a:gd name="connsiteY5" fmla="*/ 174427 h 218034"/>
              <a:gd name="connsiteX6" fmla="*/ 0 w 181695"/>
              <a:gd name="connsiteY6" fmla="*/ 174427 h 218034"/>
              <a:gd name="connsiteX7" fmla="*/ 0 w 181695"/>
              <a:gd name="connsiteY7" fmla="*/ 43607 h 21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695" h="218034">
                <a:moveTo>
                  <a:pt x="145356" y="1"/>
                </a:moveTo>
                <a:lnTo>
                  <a:pt x="145356" y="109018"/>
                </a:lnTo>
                <a:lnTo>
                  <a:pt x="181695" y="109018"/>
                </a:lnTo>
                <a:lnTo>
                  <a:pt x="90848" y="218033"/>
                </a:lnTo>
                <a:lnTo>
                  <a:pt x="0" y="109018"/>
                </a:lnTo>
                <a:lnTo>
                  <a:pt x="36339" y="109018"/>
                </a:lnTo>
                <a:lnTo>
                  <a:pt x="36339" y="1"/>
                </a:lnTo>
                <a:lnTo>
                  <a:pt x="14535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608" tIns="0" rIns="43607" bIns="5450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endParaRPr lang="de-DE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3104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Schritte zum Aufbau eines neuronalen Netz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4</a:t>
            </a:fld>
            <a:endParaRPr lang="de-DE" alt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D75665D7-B6D5-4E8D-8AF3-606DE481DC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6715072"/>
              </p:ext>
            </p:extLst>
          </p:nvPr>
        </p:nvGraphicFramePr>
        <p:xfrm>
          <a:off x="3048000" y="1341439"/>
          <a:ext cx="6096000" cy="4717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Grafik 9" descr="Zahnräder">
            <a:extLst>
              <a:ext uri="{FF2B5EF4-FFF2-40B4-BE49-F238E27FC236}">
                <a16:creationId xmlns:a16="http://schemas.microsoft.com/office/drawing/2014/main" id="{37158A2D-93B2-4CC1-933E-7C247B03620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33600" y="125848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5361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Motivation der Normierung von Dat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Motivation für eine Normierung der Date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platzhalter 18"/>
              <p:cNvSpPr>
                <a:spLocks noGrp="1"/>
              </p:cNvSpPr>
              <p:nvPr>
                <p:ph type="body" sz="quarter" idx="27"/>
              </p:nvPr>
            </p:nvSpPr>
            <p:spPr/>
            <p:txBody>
              <a:bodyPr/>
              <a:lstStyle/>
              <a:p>
                <a:pPr marL="261900" indent="-342900">
                  <a:buFont typeface="+mj-lt"/>
                  <a:buAutoNum type="arabicPeriod"/>
                </a:pPr>
                <a:r>
                  <a:rPr lang="de-DE" dirty="0"/>
                  <a:t>Standardisierung anhand der Momente</a:t>
                </a:r>
              </a:p>
              <a:p>
                <a:pPr marL="261900" indent="-342900">
                  <a:buFont typeface="+mj-lt"/>
                  <a:buAutoNum type="arabicPeriod"/>
                </a:pPr>
                <a:endParaRPr lang="de-DE" dirty="0"/>
              </a:p>
              <a:p>
                <a:pPr marL="261900" indent="-342900">
                  <a:buFont typeface="+mj-lt"/>
                  <a:buAutoNum type="arabicPeriod"/>
                </a:pPr>
                <a:endParaRPr lang="de-DE" dirty="0"/>
              </a:p>
              <a:p>
                <a:pPr marL="261900" indent="-342900">
                  <a:buFont typeface="+mj-lt"/>
                  <a:buAutoNum type="arabicPeriod"/>
                </a:pPr>
                <a:endParaRPr lang="de-DE" dirty="0"/>
              </a:p>
              <a:p>
                <a:pPr marL="261900" indent="-342900">
                  <a:buFont typeface="+mj-lt"/>
                  <a:buAutoNum type="arabicPeriod"/>
                </a:pPr>
                <a:endParaRPr lang="de-DE" dirty="0"/>
              </a:p>
              <a:p>
                <a:pPr marL="261900" indent="-342900">
                  <a:buFont typeface="+mj-lt"/>
                  <a:buAutoNum type="arabicPeriod"/>
                </a:pPr>
                <a:endParaRPr lang="de-DE" dirty="0"/>
              </a:p>
              <a:p>
                <a:pPr marL="261900" indent="-342900">
                  <a:buFont typeface="+mj-lt"/>
                  <a:buAutoNum type="arabicPeriod"/>
                </a:pPr>
                <a:endParaRPr lang="de-DE" dirty="0"/>
              </a:p>
              <a:p>
                <a:pPr marL="261900" indent="-342900">
                  <a:buFont typeface="+mj-lt"/>
                  <a:buAutoNum type="arabicPeriod"/>
                </a:pPr>
                <a:r>
                  <a:rPr lang="de-DE" dirty="0"/>
                  <a:t>Min/Max Standardisierung</a:t>
                </a:r>
                <a:br>
                  <a:rPr lang="de-DE" dirty="0"/>
                </a:br>
                <a:endParaRPr lang="de-DE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func>
                            <m:func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de-DE" b="0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func>
                            <m:func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de-DE" b="0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func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b="0" i="0" smtClean="0">
                              <a:latin typeface="Cambria Math" panose="02040503050406030204" pitchFamily="18" charset="0"/>
                            </a:rPr>
                            <m:t>min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⁡(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→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panose="02040503050406030204" pitchFamily="18" charset="0"/>
                        </a:rPr>
                        <m:t>z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[0;1]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Textplatzhalter 18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7"/>
              </p:nvPr>
            </p:nvSpPr>
            <p:spPr>
              <a:blipFill>
                <a:blip r:embed="rId2"/>
                <a:stretch>
                  <a:fillRect l="-115" t="-3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Textplatzhalter 19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Verfahren zur Normier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4294967295"/>
          </p:nvPr>
        </p:nvSpPr>
        <p:spPr>
          <a:xfrm>
            <a:off x="527052" y="2292298"/>
            <a:ext cx="4754561" cy="3778302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/>
              <a:t>Abweichende Dimensionierung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Aktivierungsfunktion kann „besser“ mit normierten Daten arbeit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Große initiale Abweichungen führt zu einer schlechten Konvergenz der Lös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feld 20"/>
              <p:cNvSpPr txBox="1"/>
              <p:nvPr/>
            </p:nvSpPr>
            <p:spPr>
              <a:xfrm>
                <a:off x="6744072" y="2635363"/>
                <a:ext cx="2250103" cy="1314271"/>
              </a:xfrm>
              <a:prstGeom prst="rect">
                <a:avLst/>
              </a:prstGeom>
              <a:ln w="28575"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𝜇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𝜎</m:t>
                          </m:r>
                        </m:den>
                      </m:f>
                    </m:oMath>
                  </m:oMathPara>
                </a14:m>
                <a:br>
                  <a:rPr lang="de-DE" sz="1600" i="1" dirty="0">
                    <a:latin typeface="Cambria Math" panose="02040503050406030204" pitchFamily="18" charset="0"/>
                  </a:rPr>
                </a:br>
                <a:br>
                  <a:rPr lang="de-DE" sz="1600" i="1" dirty="0">
                    <a:latin typeface="Cambria Math" panose="02040503050406030204" pitchFamily="18" charset="0"/>
                  </a:rPr>
                </a:br>
                <a:r>
                  <a:rPr lang="de-DE" sz="1600" i="1" dirty="0"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i="1">
                        <a:latin typeface="Cambria Math" panose="02040503050406030204" pitchFamily="18" charset="0"/>
                      </a:rPr>
                      <m:t>→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de-DE" sz="16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𝜇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𝑠𝑡𝑑</m:t>
                    </m:r>
                    <m:d>
                      <m:d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de-DE" sz="16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spcAft>
                    <a:spcPts val="1200"/>
                  </a:spcAft>
                </a:pPr>
                <a:r>
                  <a:rPr lang="de-DE" sz="1600" dirty="0"/>
                  <a:t> </a:t>
                </a:r>
                <a14:m>
                  <m:oMath xmlns:m="http://schemas.openxmlformats.org/officeDocument/2006/math">
                    <m:r>
                      <a:rPr lang="de-DE" sz="160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de-DE" sz="1600" i="1" smtClean="0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</m:d>
                    <m:r>
                      <a:rPr lang="de-DE" sz="16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0,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𝑠𝑡𝑑</m:t>
                    </m:r>
                    <m:d>
                      <m:d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</m:d>
                    <m:r>
                      <a:rPr lang="de-DE" sz="16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Textfeld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4072" y="2635363"/>
                <a:ext cx="2250103" cy="1314271"/>
              </a:xfrm>
              <a:prstGeom prst="rect">
                <a:avLst/>
              </a:prstGeom>
              <a:blipFill>
                <a:blip r:embed="rId3"/>
                <a:stretch>
                  <a:fillRect l="-271" t="-463" r="-1084" b="-926"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Grafik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325" y="3579581"/>
            <a:ext cx="4728195" cy="270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4574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Schritte zum Aufbau eines neuronalen Netz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6</a:t>
            </a:fld>
            <a:endParaRPr lang="de-DE" alt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D75665D7-B6D5-4E8D-8AF3-606DE481DC2D}"/>
              </a:ext>
            </a:extLst>
          </p:cNvPr>
          <p:cNvGraphicFramePr/>
          <p:nvPr/>
        </p:nvGraphicFramePr>
        <p:xfrm>
          <a:off x="3048000" y="1341439"/>
          <a:ext cx="6096000" cy="4717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Grafik 9" descr="Zahnräder">
            <a:extLst>
              <a:ext uri="{FF2B5EF4-FFF2-40B4-BE49-F238E27FC236}">
                <a16:creationId xmlns:a16="http://schemas.microsoft.com/office/drawing/2014/main" id="{37158A2D-93B2-4CC1-933E-7C247B03620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33600" y="1258488"/>
            <a:ext cx="914400" cy="91440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3071664" y="2708920"/>
            <a:ext cx="6072336" cy="504000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3423203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ie Trennung in Trainings- Validierungs- und Testdaten ist notwendig, um eine objektive Beurteilung des Ergebnisses zu erhal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7</a:t>
            </a:fld>
            <a:endParaRPr lang="de-DE" alt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0791202"/>
              </p:ext>
            </p:extLst>
          </p:nvPr>
        </p:nvGraphicFramePr>
        <p:xfrm>
          <a:off x="2279576" y="1124744"/>
          <a:ext cx="7080250" cy="3400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Pfeil nach unten 9"/>
          <p:cNvSpPr/>
          <p:nvPr/>
        </p:nvSpPr>
        <p:spPr>
          <a:xfrm>
            <a:off x="3215680" y="4164320"/>
            <a:ext cx="432048" cy="408980"/>
          </a:xfrm>
          <a:prstGeom prst="downArrow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11" name="Pfeil nach unten 10"/>
          <p:cNvSpPr/>
          <p:nvPr/>
        </p:nvSpPr>
        <p:spPr>
          <a:xfrm>
            <a:off x="5605253" y="4164320"/>
            <a:ext cx="432048" cy="408980"/>
          </a:xfrm>
          <a:prstGeom prst="downArrow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12" name="Pfeil nach unten 11"/>
          <p:cNvSpPr/>
          <p:nvPr/>
        </p:nvSpPr>
        <p:spPr>
          <a:xfrm>
            <a:off x="8256240" y="4164320"/>
            <a:ext cx="432048" cy="408980"/>
          </a:xfrm>
          <a:prstGeom prst="downArrow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13" name="Textfeld 12"/>
          <p:cNvSpPr txBox="1"/>
          <p:nvPr/>
        </p:nvSpPr>
        <p:spPr>
          <a:xfrm>
            <a:off x="2423592" y="4775784"/>
            <a:ext cx="1799968" cy="738664"/>
          </a:xfrm>
          <a:prstGeom prst="rect">
            <a:avLst/>
          </a:prstGeom>
          <a:ln w="28575"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400" dirty="0"/>
              <a:t>Optimale Festlegung der Gewichte 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4943872" y="4753661"/>
            <a:ext cx="1799968" cy="738664"/>
          </a:xfrm>
          <a:prstGeom prst="rect">
            <a:avLst/>
          </a:prstGeom>
          <a:ln w="28575"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400" dirty="0"/>
              <a:t>Optimale Festlegung der Hyperparameter 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7583969" y="4775785"/>
            <a:ext cx="1799968" cy="307777"/>
          </a:xfrm>
          <a:prstGeom prst="rect">
            <a:avLst/>
          </a:prstGeom>
          <a:ln w="28575"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400" dirty="0"/>
              <a:t>Finale Beurteilung</a:t>
            </a:r>
          </a:p>
        </p:txBody>
      </p:sp>
    </p:spTree>
    <p:extLst>
      <p:ext uri="{BB962C8B-B14F-4D97-AF65-F5344CB8AC3E}">
        <p14:creationId xmlns:p14="http://schemas.microsoft.com/office/powerpoint/2010/main" val="154582479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Schritte zum Aufbau eines neuronalen Netz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8</a:t>
            </a:fld>
            <a:endParaRPr lang="de-DE" alt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D75665D7-B6D5-4E8D-8AF3-606DE481DC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8064775"/>
              </p:ext>
            </p:extLst>
          </p:nvPr>
        </p:nvGraphicFramePr>
        <p:xfrm>
          <a:off x="3048000" y="1341439"/>
          <a:ext cx="6096000" cy="4717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Grafik 9" descr="Zahnräder">
            <a:extLst>
              <a:ext uri="{FF2B5EF4-FFF2-40B4-BE49-F238E27FC236}">
                <a16:creationId xmlns:a16="http://schemas.microsoft.com/office/drawing/2014/main" id="{37158A2D-93B2-4CC1-933E-7C247B03620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33600" y="1258488"/>
            <a:ext cx="914400" cy="91440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3048000" y="3645024"/>
            <a:ext cx="6072336" cy="947443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20130265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Umsetzung / Aufbau in </a:t>
            </a:r>
            <a:r>
              <a:rPr lang="de-DE" dirty="0" err="1"/>
              <a:t>tensorflow</a:t>
            </a:r>
            <a:r>
              <a:rPr lang="de-DE" dirty="0"/>
              <a:t> -&gt; Aufbau der Lay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9</a:t>
            </a:fld>
            <a:endParaRPr lang="de-DE" alt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DA706B7-3D34-421A-87C1-40F7836D93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19" r="22680"/>
          <a:stretch/>
        </p:blipFill>
        <p:spPr>
          <a:xfrm>
            <a:off x="6744072" y="1676248"/>
            <a:ext cx="4464496" cy="350550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49D27CD-AACE-41AD-AEC5-0C13B2349009}"/>
              </a:ext>
            </a:extLst>
          </p:cNvPr>
          <p:cNvSpPr/>
          <p:nvPr/>
        </p:nvSpPr>
        <p:spPr>
          <a:xfrm>
            <a:off x="479376" y="1676248"/>
            <a:ext cx="6096000" cy="397031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solidFill>
                  <a:srgbClr val="00B050"/>
                </a:solidFill>
              </a:rPr>
              <a:t># relevante Module</a:t>
            </a:r>
          </a:p>
          <a:p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ensorflow.keras.models</a:t>
            </a:r>
            <a:r>
              <a:rPr lang="de-DE" dirty="0"/>
              <a:t> </a:t>
            </a:r>
            <a:r>
              <a:rPr lang="de-DE" dirty="0" err="1"/>
              <a:t>import</a:t>
            </a:r>
            <a:r>
              <a:rPr lang="de-DE" dirty="0"/>
              <a:t> </a:t>
            </a:r>
            <a:r>
              <a:rPr lang="de-DE" dirty="0" err="1"/>
              <a:t>Sequential</a:t>
            </a:r>
            <a:endParaRPr lang="de-DE" dirty="0"/>
          </a:p>
          <a:p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ensorflow.keras.layers</a:t>
            </a:r>
            <a:r>
              <a:rPr lang="de-DE" dirty="0"/>
              <a:t> </a:t>
            </a:r>
            <a:r>
              <a:rPr lang="de-DE" dirty="0" err="1"/>
              <a:t>import</a:t>
            </a:r>
            <a:r>
              <a:rPr lang="de-DE" dirty="0"/>
              <a:t> </a:t>
            </a:r>
            <a:r>
              <a:rPr lang="de-DE" dirty="0" err="1"/>
              <a:t>Dense</a:t>
            </a:r>
            <a:endParaRPr lang="de-DE" dirty="0"/>
          </a:p>
          <a:p>
            <a:endParaRPr lang="de-DE" dirty="0"/>
          </a:p>
          <a:p>
            <a:r>
              <a:rPr lang="de-DE" dirty="0">
                <a:solidFill>
                  <a:srgbClr val="00B050"/>
                </a:solidFill>
              </a:rPr>
              <a:t># Modellaufbau</a:t>
            </a:r>
          </a:p>
          <a:p>
            <a:r>
              <a:rPr lang="de-DE" dirty="0"/>
              <a:t>ANN = </a:t>
            </a:r>
            <a:r>
              <a:rPr lang="de-DE" dirty="0" err="1"/>
              <a:t>Sequential</a:t>
            </a:r>
            <a:r>
              <a:rPr lang="de-DE" dirty="0"/>
              <a:t>()</a:t>
            </a:r>
          </a:p>
          <a:p>
            <a:r>
              <a:rPr lang="de-DE" dirty="0" err="1"/>
              <a:t>ANN.add</a:t>
            </a:r>
            <a:r>
              <a:rPr lang="de-DE" dirty="0"/>
              <a:t>(</a:t>
            </a:r>
            <a:r>
              <a:rPr lang="de-DE" dirty="0" err="1"/>
              <a:t>Dense</a:t>
            </a:r>
            <a:r>
              <a:rPr lang="de-DE" dirty="0"/>
              <a:t>(20,activation='</a:t>
            </a:r>
            <a:r>
              <a:rPr lang="de-DE" dirty="0" err="1"/>
              <a:t>relu</a:t>
            </a:r>
            <a:r>
              <a:rPr lang="de-DE" dirty="0"/>
              <a:t>'))</a:t>
            </a:r>
          </a:p>
          <a:p>
            <a:r>
              <a:rPr lang="de-DE" dirty="0" err="1"/>
              <a:t>ANN.add</a:t>
            </a:r>
            <a:r>
              <a:rPr lang="de-DE" dirty="0"/>
              <a:t>(</a:t>
            </a:r>
            <a:r>
              <a:rPr lang="de-DE" dirty="0" err="1"/>
              <a:t>Dense</a:t>
            </a:r>
            <a:r>
              <a:rPr lang="de-DE" dirty="0"/>
              <a:t>(30,activation='</a:t>
            </a:r>
            <a:r>
              <a:rPr lang="de-DE" dirty="0" err="1"/>
              <a:t>relu</a:t>
            </a:r>
            <a:r>
              <a:rPr lang="de-DE" dirty="0"/>
              <a:t>'))</a:t>
            </a:r>
          </a:p>
          <a:p>
            <a:r>
              <a:rPr lang="de-DE" dirty="0" err="1"/>
              <a:t>ANN.add</a:t>
            </a:r>
            <a:r>
              <a:rPr lang="de-DE" dirty="0"/>
              <a:t>(</a:t>
            </a:r>
            <a:r>
              <a:rPr lang="de-DE" dirty="0" err="1"/>
              <a:t>Dense</a:t>
            </a:r>
            <a:r>
              <a:rPr lang="de-DE" dirty="0"/>
              <a:t>(1, </a:t>
            </a:r>
            <a:r>
              <a:rPr lang="de-DE" dirty="0" err="1"/>
              <a:t>activation</a:t>
            </a:r>
            <a:r>
              <a:rPr lang="de-DE" dirty="0"/>
              <a:t>='linear‘))</a:t>
            </a:r>
          </a:p>
          <a:p>
            <a:endParaRPr lang="de-DE" dirty="0"/>
          </a:p>
          <a:p>
            <a:r>
              <a:rPr lang="de-DE" dirty="0">
                <a:solidFill>
                  <a:srgbClr val="00B050"/>
                </a:solidFill>
              </a:rPr>
              <a:t># Modellkompilierung</a:t>
            </a:r>
          </a:p>
          <a:p>
            <a:r>
              <a:rPr lang="de-DE" dirty="0" err="1"/>
              <a:t>ANN.compile</a:t>
            </a:r>
            <a:r>
              <a:rPr lang="de-DE" dirty="0"/>
              <a:t>(</a:t>
            </a:r>
            <a:r>
              <a:rPr lang="de-DE" dirty="0" err="1"/>
              <a:t>loss</a:t>
            </a:r>
            <a:r>
              <a:rPr lang="de-DE" dirty="0"/>
              <a:t>='</a:t>
            </a:r>
            <a:r>
              <a:rPr lang="de-DE" dirty="0" err="1"/>
              <a:t>mean_squared_error</a:t>
            </a:r>
            <a:r>
              <a:rPr lang="de-DE" dirty="0"/>
              <a:t>‘,</a:t>
            </a:r>
            <a:br>
              <a:rPr lang="de-DE" dirty="0"/>
            </a:br>
            <a:r>
              <a:rPr lang="de-DE" dirty="0" err="1"/>
              <a:t>optimizer</a:t>
            </a:r>
            <a:r>
              <a:rPr lang="de-DE" dirty="0"/>
              <a:t>='</a:t>
            </a:r>
            <a:r>
              <a:rPr lang="de-DE" dirty="0" err="1"/>
              <a:t>adam</a:t>
            </a:r>
            <a:r>
              <a:rPr lang="de-DE" dirty="0"/>
              <a:t>')</a:t>
            </a:r>
          </a:p>
          <a:p>
            <a:r>
              <a:rPr lang="de-DE" dirty="0" err="1"/>
              <a:t>model.summary</a:t>
            </a:r>
            <a:r>
              <a:rPr lang="de-DE" dirty="0"/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16779468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fontAlgn="auto">
              <a:defRPr/>
            </a:pPr>
            <a:r>
              <a:rPr lang="de-DE" altLang="en-US" dirty="0"/>
              <a:t>Zielsetzung der heutigen Vorlesung: </a:t>
            </a:r>
            <a:br>
              <a:rPr lang="de-DE" altLang="en-US" dirty="0"/>
            </a:br>
            <a:r>
              <a:rPr lang="de-DE" altLang="en-US" dirty="0"/>
              <a:t>Einführung in neuronale Netze</a:t>
            </a:r>
            <a:endParaRPr lang="en-GB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7589" name="Textfeld 24"/>
          <p:cNvSpPr txBox="1">
            <a:spLocks noChangeArrowheads="1"/>
          </p:cNvSpPr>
          <p:nvPr/>
        </p:nvSpPr>
        <p:spPr bwMode="auto">
          <a:xfrm>
            <a:off x="2766980" y="2619787"/>
            <a:ext cx="3832763" cy="2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450"/>
              </a:spcAft>
            </a:pPr>
            <a:r>
              <a:rPr lang="de-DE" altLang="en-US" sz="1400" b="1"/>
              <a:t>Aufbau der heutigen Vorlesung: </a:t>
            </a:r>
          </a:p>
        </p:txBody>
      </p:sp>
      <p:sp>
        <p:nvSpPr>
          <p:cNvPr id="20" name="Rechteck 19"/>
          <p:cNvSpPr>
            <a:spLocks noChangeArrowheads="1"/>
          </p:cNvSpPr>
          <p:nvPr/>
        </p:nvSpPr>
        <p:spPr bwMode="auto">
          <a:xfrm>
            <a:off x="2766980" y="3055809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Aufbau eines Neurons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neuronalen Netzes </a:t>
            </a:r>
          </a:p>
        </p:txBody>
      </p:sp>
      <p:sp>
        <p:nvSpPr>
          <p:cNvPr id="67591" name="Rechteck 3"/>
          <p:cNvSpPr>
            <a:spLocks noChangeArrowheads="1"/>
          </p:cNvSpPr>
          <p:nvPr/>
        </p:nvSpPr>
        <p:spPr bwMode="auto">
          <a:xfrm>
            <a:off x="3330531" y="1573016"/>
            <a:ext cx="6786263" cy="73352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27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dirty="0">
                <a:latin typeface="Arial "/>
              </a:rPr>
              <a:t>Anwendung eines einfachen </a:t>
            </a:r>
            <a:r>
              <a:rPr lang="de-DE" altLang="en-US" sz="1400" dirty="0" err="1">
                <a:latin typeface="Arial "/>
              </a:rPr>
              <a:t>Feedforward</a:t>
            </a:r>
            <a:r>
              <a:rPr lang="de-DE" altLang="en-US" sz="1400" dirty="0">
                <a:latin typeface="Arial "/>
              </a:rPr>
              <a:t> Netzes zur Abbildung komplexerer nichtlinearer energiewirtschaftlicher Zusammenhänge </a:t>
            </a:r>
          </a:p>
        </p:txBody>
      </p:sp>
      <p:sp>
        <p:nvSpPr>
          <p:cNvPr id="67592" name="Textfeld 2"/>
          <p:cNvSpPr txBox="1">
            <a:spLocks noChangeArrowheads="1"/>
          </p:cNvSpPr>
          <p:nvPr/>
        </p:nvSpPr>
        <p:spPr bwMode="auto">
          <a:xfrm>
            <a:off x="2086618" y="1719408"/>
            <a:ext cx="761747" cy="2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DE" altLang="en-US" sz="1400" b="1"/>
              <a:t>Thema</a:t>
            </a:r>
            <a:endParaRPr lang="en-GB" altLang="en-US" sz="1400" b="1"/>
          </a:p>
        </p:txBody>
      </p:sp>
      <p:sp>
        <p:nvSpPr>
          <p:cNvPr id="21" name="Rechteck 20"/>
          <p:cNvSpPr/>
          <p:nvPr/>
        </p:nvSpPr>
        <p:spPr>
          <a:xfrm>
            <a:off x="1919290" y="1573015"/>
            <a:ext cx="1288111" cy="71936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txBody>
          <a:bodyPr lIns="0" tIns="0" rIns="0" bIns="27000" anchor="ctr"/>
          <a:lstStyle/>
          <a:p>
            <a:pPr algn="ctr">
              <a:defRPr/>
            </a:pPr>
            <a:endParaRPr lang="en-GB" sz="1400"/>
          </a:p>
        </p:txBody>
      </p:sp>
      <p:sp>
        <p:nvSpPr>
          <p:cNvPr id="34" name="Rechteck 33"/>
          <p:cNvSpPr>
            <a:spLocks noChangeArrowheads="1"/>
          </p:cNvSpPr>
          <p:nvPr/>
        </p:nvSpPr>
        <p:spPr bwMode="auto">
          <a:xfrm>
            <a:off x="6776543" y="3055809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Grundsätzliche Begrifflichkeiten und Notationen</a:t>
            </a:r>
            <a:endParaRPr lang="en-GB" sz="1400" dirty="0">
              <a:latin typeface="Arial "/>
            </a:endParaRPr>
          </a:p>
        </p:txBody>
      </p:sp>
      <p:sp>
        <p:nvSpPr>
          <p:cNvPr id="67595" name="Textfeld 24"/>
          <p:cNvSpPr txBox="1">
            <a:spLocks noChangeArrowheads="1"/>
          </p:cNvSpPr>
          <p:nvPr/>
        </p:nvSpPr>
        <p:spPr bwMode="auto">
          <a:xfrm>
            <a:off x="6776544" y="2619787"/>
            <a:ext cx="3423913" cy="2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450"/>
              </a:spcAft>
            </a:pPr>
            <a:r>
              <a:rPr lang="de-DE" altLang="en-US" sz="1400" b="1" dirty="0"/>
              <a:t>Lernziel: </a:t>
            </a:r>
          </a:p>
        </p:txBody>
      </p:sp>
      <p:sp>
        <p:nvSpPr>
          <p:cNvPr id="40" name="Rechteck 39"/>
          <p:cNvSpPr>
            <a:spLocks noChangeArrowheads="1"/>
          </p:cNvSpPr>
          <p:nvPr/>
        </p:nvSpPr>
        <p:spPr bwMode="auto">
          <a:xfrm>
            <a:off x="1919290" y="3054237"/>
            <a:ext cx="669313" cy="524172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1</a:t>
            </a:r>
          </a:p>
        </p:txBody>
      </p:sp>
      <p:sp>
        <p:nvSpPr>
          <p:cNvPr id="23" name="Rechteck 22"/>
          <p:cNvSpPr>
            <a:spLocks noChangeArrowheads="1"/>
          </p:cNvSpPr>
          <p:nvPr/>
        </p:nvSpPr>
        <p:spPr bwMode="auto">
          <a:xfrm>
            <a:off x="2766980" y="3698038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dirty="0" err="1"/>
              <a:t>Gradientenabstiegs</a:t>
            </a:r>
            <a:r>
              <a:rPr lang="de-DE" altLang="de-DE" sz="1400" dirty="0"/>
              <a:t>-Verfahren</a:t>
            </a:r>
          </a:p>
        </p:txBody>
      </p:sp>
      <p:sp>
        <p:nvSpPr>
          <p:cNvPr id="35" name="Rechteck 34"/>
          <p:cNvSpPr>
            <a:spLocks noChangeArrowheads="1"/>
          </p:cNvSpPr>
          <p:nvPr/>
        </p:nvSpPr>
        <p:spPr bwMode="auto">
          <a:xfrm>
            <a:off x="6776543" y="3698038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Motivation des Verfahrens und nachvollziehen der „Mathematik“</a:t>
            </a:r>
            <a:endParaRPr lang="en-GB" sz="1400" dirty="0">
              <a:latin typeface="Arial "/>
            </a:endParaRPr>
          </a:p>
        </p:txBody>
      </p:sp>
      <p:sp>
        <p:nvSpPr>
          <p:cNvPr id="41" name="Rechteck 40"/>
          <p:cNvSpPr>
            <a:spLocks noChangeArrowheads="1"/>
          </p:cNvSpPr>
          <p:nvPr/>
        </p:nvSpPr>
        <p:spPr bwMode="auto">
          <a:xfrm>
            <a:off x="1919290" y="3698038"/>
            <a:ext cx="669313" cy="522599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2</a:t>
            </a:r>
          </a:p>
        </p:txBody>
      </p:sp>
      <p:sp>
        <p:nvSpPr>
          <p:cNvPr id="24" name="Rechteck 23"/>
          <p:cNvSpPr>
            <a:spLocks noChangeArrowheads="1"/>
          </p:cNvSpPr>
          <p:nvPr/>
        </p:nvSpPr>
        <p:spPr bwMode="auto">
          <a:xfrm>
            <a:off x="2766980" y="4340267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führung in </a:t>
            </a:r>
            <a:r>
              <a:rPr lang="de-DE" sz="1400" dirty="0" err="1">
                <a:latin typeface="Arial "/>
              </a:rPr>
              <a:t>Tensorflow</a:t>
            </a:r>
            <a:r>
              <a:rPr lang="de-DE" sz="1400" dirty="0">
                <a:latin typeface="Arial "/>
              </a:rPr>
              <a:t> und Keras</a:t>
            </a:r>
            <a:endParaRPr lang="en-GB" sz="1400" dirty="0">
              <a:latin typeface="Arial "/>
            </a:endParaRPr>
          </a:p>
        </p:txBody>
      </p:sp>
      <p:sp>
        <p:nvSpPr>
          <p:cNvPr id="36" name="Rechteck 35"/>
          <p:cNvSpPr>
            <a:spLocks noChangeArrowheads="1"/>
          </p:cNvSpPr>
          <p:nvPr/>
        </p:nvSpPr>
        <p:spPr bwMode="auto">
          <a:xfrm>
            <a:off x="6776543" y="4340267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Verstehen der API </a:t>
            </a:r>
            <a:r>
              <a:rPr lang="de-DE" sz="1400" dirty="0" err="1">
                <a:latin typeface="Arial "/>
              </a:rPr>
              <a:t>Sequential</a:t>
            </a:r>
            <a:r>
              <a:rPr lang="de-DE" sz="1400" dirty="0">
                <a:latin typeface="Arial "/>
              </a:rPr>
              <a:t>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Einsatz des </a:t>
            </a:r>
            <a:r>
              <a:rPr lang="de-DE" sz="1400" dirty="0" err="1">
                <a:latin typeface="Arial "/>
              </a:rPr>
              <a:t>Dense</a:t>
            </a:r>
            <a:r>
              <a:rPr lang="de-DE" sz="1400" dirty="0">
                <a:latin typeface="Arial "/>
              </a:rPr>
              <a:t> Layer</a:t>
            </a:r>
            <a:endParaRPr lang="en-GB" sz="1400" dirty="0">
              <a:latin typeface="Arial "/>
            </a:endParaRPr>
          </a:p>
        </p:txBody>
      </p:sp>
      <p:sp>
        <p:nvSpPr>
          <p:cNvPr id="42" name="Rechteck 41"/>
          <p:cNvSpPr>
            <a:spLocks noChangeArrowheads="1"/>
          </p:cNvSpPr>
          <p:nvPr/>
        </p:nvSpPr>
        <p:spPr bwMode="auto">
          <a:xfrm>
            <a:off x="1919290" y="4327674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0D27979-AC60-4F51-92E1-31EC021F9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6980" y="4986465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satz Feed </a:t>
            </a:r>
            <a:r>
              <a:rPr lang="de-DE" sz="1400" dirty="0" err="1">
                <a:latin typeface="Arial "/>
              </a:rPr>
              <a:t>Forwardnetze</a:t>
            </a:r>
            <a:r>
              <a:rPr lang="de-DE" sz="1400" dirty="0">
                <a:latin typeface="Arial "/>
              </a:rPr>
              <a:t> zur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Modellierung der Windeinspeisung</a:t>
            </a:r>
            <a:endParaRPr lang="en-GB" sz="1400" dirty="0">
              <a:latin typeface="Arial 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1DF4370-C5C3-4357-98FA-8125CF2D1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6543" y="4986465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Relevante Features und Netzarchitektur für die Fragestellung</a:t>
            </a:r>
            <a:endParaRPr lang="en-GB" sz="1400" dirty="0">
              <a:latin typeface="Arial 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EB222B8-F800-410E-8C5D-42FB6E245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290" y="4973872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3771892"/>
      </p:ext>
    </p:extLst>
  </p:cSld>
  <p:clrMapOvr>
    <a:masterClrMapping/>
  </p:clrMapOvr>
  <p:transition spd="slow" advClick="0" advTm="92238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Schritte zum Aufbau eines neuronalen Netz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0</a:t>
            </a:fld>
            <a:endParaRPr lang="de-DE" alt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D75665D7-B6D5-4E8D-8AF3-606DE481DC2D}"/>
              </a:ext>
            </a:extLst>
          </p:cNvPr>
          <p:cNvGraphicFramePr/>
          <p:nvPr/>
        </p:nvGraphicFramePr>
        <p:xfrm>
          <a:off x="3048000" y="1341439"/>
          <a:ext cx="6096000" cy="4717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Grafik 9" descr="Zahnräder">
            <a:extLst>
              <a:ext uri="{FF2B5EF4-FFF2-40B4-BE49-F238E27FC236}">
                <a16:creationId xmlns:a16="http://schemas.microsoft.com/office/drawing/2014/main" id="{37158A2D-93B2-4CC1-933E-7C247B03620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33600" y="1258488"/>
            <a:ext cx="914400" cy="91440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3078149" y="5083802"/>
            <a:ext cx="6072336" cy="910473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95144915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Was ist der Weg durch den Dschungel?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Eine unwissenschaftliche Leitregel:</a:t>
            </a:r>
          </a:p>
          <a:p>
            <a:pPr lvl="1"/>
            <a:r>
              <a:rPr lang="de-DE" dirty="0"/>
              <a:t>Schritt 1, </a:t>
            </a:r>
            <a:r>
              <a:rPr lang="de-DE" dirty="0" err="1"/>
              <a:t>keep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simple, um mit Hyperparametern effizient zu „experimentieren“:</a:t>
            </a:r>
          </a:p>
          <a:p>
            <a:pPr lvl="2"/>
            <a:r>
              <a:rPr lang="de-DE" dirty="0"/>
              <a:t>Normierung der Daten</a:t>
            </a:r>
          </a:p>
          <a:p>
            <a:pPr lvl="2"/>
            <a:r>
              <a:rPr lang="de-DE" dirty="0"/>
              <a:t>wenige Variablen </a:t>
            </a:r>
          </a:p>
          <a:p>
            <a:pPr lvl="2"/>
            <a:r>
              <a:rPr lang="de-DE" dirty="0"/>
              <a:t>einfache Netzwerke mit niedriger Komplexität</a:t>
            </a:r>
          </a:p>
          <a:p>
            <a:pPr lvl="2"/>
            <a:r>
              <a:rPr lang="de-DE" dirty="0"/>
              <a:t>Verringerung des Datensatzes</a:t>
            </a:r>
          </a:p>
          <a:p>
            <a:pPr lvl="2"/>
            <a:r>
              <a:rPr lang="de-DE" dirty="0"/>
              <a:t>Gewinnung von Erfahrung und einer Basislösung</a:t>
            </a:r>
          </a:p>
          <a:p>
            <a:pPr lvl="2"/>
            <a:r>
              <a:rPr lang="de-DE" dirty="0"/>
              <a:t>Erste Festlegung der Hyperparameter</a:t>
            </a:r>
          </a:p>
          <a:p>
            <a:pPr marL="685800" lvl="2" indent="0">
              <a:buNone/>
            </a:pPr>
            <a:endParaRPr lang="de-DE" dirty="0"/>
          </a:p>
          <a:p>
            <a:pPr lvl="1"/>
            <a:r>
              <a:rPr lang="de-DE" dirty="0"/>
              <a:t>Schritt 2, Erhöhung der Komplexität für das Feintuning der Parameter</a:t>
            </a:r>
          </a:p>
          <a:p>
            <a:pPr lvl="2"/>
            <a:r>
              <a:rPr lang="de-DE" dirty="0"/>
              <a:t>Hinzunahme von Variablen </a:t>
            </a:r>
          </a:p>
          <a:p>
            <a:pPr lvl="2"/>
            <a:r>
              <a:rPr lang="de-DE" dirty="0"/>
              <a:t>Erhöhung der Komplexität  des Netzwerks </a:t>
            </a:r>
          </a:p>
          <a:p>
            <a:pPr lvl="2"/>
            <a:r>
              <a:rPr lang="de-DE" dirty="0"/>
              <a:t>Erhöhung  des Datensatzes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752774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35FC5BD-E434-40D2-8A3F-811904B055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188FA6-98AE-4182-8F87-C402A020843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944164-11C5-4D82-B9FF-767BF33FA44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9E0848-1EB8-4B63-83A6-16E49FD5C3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2</a:t>
            </a:fld>
            <a:endParaRPr lang="de-DE" alt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3FEBE8-2EDF-47DF-BBD4-1B24238F75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EC4DCCC-17D0-41ED-BA33-A95907EC11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FA0D494-58B5-4163-9249-D02FCF3E5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4509" y="1858384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Aufbau eines Neurons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neuronalen Netzes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09CFA46-983B-4E98-B22A-846CB1070E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4072" y="1858384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Grundsätzliche Begrifflichkeiten und Notationen</a:t>
            </a:r>
            <a:endParaRPr lang="en-GB" sz="1400" dirty="0">
              <a:latin typeface="Arial 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BF0D63D-1EC6-4797-B44C-33F2F0B2B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6819" y="1856812"/>
            <a:ext cx="669313" cy="524172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1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7ACCB92-C326-40C9-9BD8-BDD4EB28D3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4509" y="2500613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dirty="0" err="1"/>
              <a:t>Gradientenabstiegs</a:t>
            </a:r>
            <a:r>
              <a:rPr lang="de-DE" altLang="de-DE" sz="1400" dirty="0"/>
              <a:t>-Verfahr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B6A8C30-BA96-4119-86B3-540C55AAE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4072" y="2500613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Motivation des Verfahrens und nachvollziehen der „Mathematik“</a:t>
            </a:r>
            <a:endParaRPr lang="en-GB" sz="1400" dirty="0">
              <a:latin typeface="Arial 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1D0149-C70A-4A51-B3C1-A61DA4B17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6819" y="2500613"/>
            <a:ext cx="669313" cy="522599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2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B472079-B7B9-4185-8F76-B4E34ABDB1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4509" y="3142842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führung in </a:t>
            </a:r>
            <a:r>
              <a:rPr lang="de-DE" sz="1400" dirty="0" err="1">
                <a:latin typeface="Arial "/>
              </a:rPr>
              <a:t>Tensorflow</a:t>
            </a:r>
            <a:r>
              <a:rPr lang="de-DE" sz="1400" dirty="0">
                <a:latin typeface="Arial "/>
              </a:rPr>
              <a:t> und Keras</a:t>
            </a:r>
            <a:endParaRPr lang="en-GB" sz="1400" dirty="0">
              <a:latin typeface="Arial 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65BE198-034B-416E-82F1-C14F29A42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4072" y="3142842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Verstehen der API </a:t>
            </a:r>
            <a:r>
              <a:rPr lang="de-DE" sz="1400" dirty="0" err="1">
                <a:latin typeface="Arial "/>
              </a:rPr>
              <a:t>Sequential</a:t>
            </a:r>
            <a:r>
              <a:rPr lang="de-DE" sz="1400" dirty="0">
                <a:latin typeface="Arial "/>
              </a:rPr>
              <a:t> und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Einsatz des </a:t>
            </a:r>
            <a:r>
              <a:rPr lang="de-DE" sz="1400" dirty="0" err="1">
                <a:latin typeface="Arial "/>
              </a:rPr>
              <a:t>Dense</a:t>
            </a:r>
            <a:r>
              <a:rPr lang="de-DE" sz="1400" dirty="0">
                <a:latin typeface="Arial "/>
              </a:rPr>
              <a:t> Layer</a:t>
            </a:r>
            <a:endParaRPr lang="en-GB" sz="1400" dirty="0">
              <a:latin typeface="Arial 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163A116-2091-4D5A-84AD-93787C783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6819" y="3130249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3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BF21A2C-735D-472B-B9AF-5B96B6950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4509" y="3789040"/>
            <a:ext cx="3832763" cy="528894"/>
          </a:xfrm>
          <a:prstGeom prst="rect">
            <a:avLst/>
          </a:prstGeom>
          <a:solidFill>
            <a:schemeClr val="bg1"/>
          </a:solidFill>
          <a:ln w="28575">
            <a:solidFill>
              <a:srgbClr val="33CCC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Einsatz Feed </a:t>
            </a:r>
            <a:r>
              <a:rPr lang="de-DE" sz="1400" dirty="0" err="1">
                <a:latin typeface="Arial "/>
              </a:rPr>
              <a:t>Forwardnetze</a:t>
            </a:r>
            <a:r>
              <a:rPr lang="de-DE" sz="1400" dirty="0">
                <a:latin typeface="Arial "/>
              </a:rPr>
              <a:t> zur </a:t>
            </a:r>
            <a:br>
              <a:rPr lang="de-DE" sz="1400" dirty="0">
                <a:latin typeface="Arial "/>
              </a:rPr>
            </a:br>
            <a:r>
              <a:rPr lang="de-DE" sz="1400" dirty="0">
                <a:latin typeface="Arial "/>
              </a:rPr>
              <a:t>Modellierung der Windeinspeisung</a:t>
            </a:r>
            <a:endParaRPr lang="en-GB" sz="1400" dirty="0">
              <a:latin typeface="Arial 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F0A3870-1094-4B34-AF89-AFCB35C9D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4072" y="3789040"/>
            <a:ext cx="3340250" cy="528894"/>
          </a:xfrm>
          <a:prstGeom prst="rect">
            <a:avLst/>
          </a:prstGeom>
          <a:solidFill>
            <a:schemeClr val="bg1"/>
          </a:solidFill>
          <a:ln w="28575">
            <a:solidFill>
              <a:srgbClr val="33CCC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latin typeface="Arial "/>
              </a:rPr>
              <a:t>Relevante Features und Netzarchitektur für die Fragestellung</a:t>
            </a:r>
            <a:endParaRPr lang="en-GB" sz="1400" dirty="0">
              <a:latin typeface="Arial 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8A88D0B-140C-47B8-A8E8-4878754B6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6819" y="3776447"/>
            <a:ext cx="669313" cy="528894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rgbClr val="33CCC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dirty="0">
                <a:solidFill>
                  <a:schemeClr val="bg1"/>
                </a:solidFill>
                <a:latin typeface="Arial "/>
              </a:rPr>
              <a:t>4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D276447-926F-4821-8BA3-783FC9925F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4509" y="4441709"/>
            <a:ext cx="3832763" cy="400050"/>
          </a:xfrm>
          <a:prstGeom prst="rect">
            <a:avLst/>
          </a:prstGeom>
          <a:solidFill>
            <a:schemeClr val="bg1"/>
          </a:solidFill>
          <a:ln w="28575">
            <a:solidFill>
              <a:srgbClr val="00B1AC"/>
            </a:solidFill>
            <a:miter lim="800000"/>
            <a:headEnd/>
            <a:tailEnd/>
          </a:ln>
        </p:spPr>
        <p:txBody>
          <a:bodyPr lIns="0" tIns="0" rIns="0" bIns="27000" anchor="ctr"/>
          <a:lstStyle/>
          <a:p>
            <a:pPr marL="342900" lvl="1" algn="ctr" defTabSz="685800" fontAlgn="auto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632523"/>
              </a:buClr>
              <a:buSzPct val="120000"/>
            </a:pPr>
            <a:r>
              <a:rPr lang="de-DE" altLang="de-DE" dirty="0" err="1">
                <a:solidFill>
                  <a:prstClr val="black"/>
                </a:solidFill>
                <a:latin typeface="Calibri" panose="020F0502020204030204"/>
              </a:rPr>
              <a:t>Quantilsregression</a:t>
            </a:r>
            <a:endParaRPr lang="de-DE" altLang="de-DE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2698399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Probabilistische</a:t>
            </a:r>
            <a:r>
              <a:rPr lang="de-DE" dirty="0"/>
              <a:t> Prognosen eignen sich besonders für die Regelenergievermarktung</a:t>
            </a:r>
          </a:p>
          <a:p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7056108" y="2564903"/>
            <a:ext cx="4357509" cy="3493665"/>
          </a:xfrm>
        </p:spPr>
        <p:txBody>
          <a:bodyPr/>
          <a:lstStyle/>
          <a:p>
            <a:pPr>
              <a:defRPr/>
            </a:pPr>
            <a:r>
              <a:rPr lang="de-DE" kern="0" dirty="0">
                <a:solidFill>
                  <a:prstClr val="black"/>
                </a:solidFill>
              </a:rPr>
              <a:t>Grundlage: Einsatz </a:t>
            </a:r>
            <a:r>
              <a:rPr lang="de-DE" kern="0" dirty="0" err="1">
                <a:solidFill>
                  <a:prstClr val="black"/>
                </a:solidFill>
              </a:rPr>
              <a:t>probabilistischer</a:t>
            </a:r>
            <a:r>
              <a:rPr lang="de-DE" kern="0" dirty="0">
                <a:solidFill>
                  <a:prstClr val="black"/>
                </a:solidFill>
              </a:rPr>
              <a:t> Einspeiseprognosen </a:t>
            </a:r>
          </a:p>
          <a:p>
            <a:pPr>
              <a:defRPr/>
            </a:pPr>
            <a:r>
              <a:rPr lang="de-DE" kern="0" dirty="0">
                <a:solidFill>
                  <a:prstClr val="black"/>
                </a:solidFill>
              </a:rPr>
              <a:t>Berücksichtigung einer Vorhersagegenauigkeit zu einem definierten Quantil</a:t>
            </a:r>
          </a:p>
          <a:p>
            <a:pPr>
              <a:defRPr/>
            </a:pPr>
            <a:r>
              <a:rPr lang="de-DE" kern="0" dirty="0">
                <a:solidFill>
                  <a:prstClr val="black"/>
                </a:solidFill>
              </a:rPr>
              <a:t>Ableitung einer Mindesteinspeisung als Grundlage der RE-Vermarktung</a:t>
            </a:r>
            <a:endParaRPr lang="en-GB" dirty="0">
              <a:solidFill>
                <a:prstClr val="black"/>
              </a:solidFill>
            </a:endParaRPr>
          </a:p>
          <a:p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3</a:t>
            </a:fld>
            <a:endParaRPr lang="de-DE" alt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864" y="4617709"/>
            <a:ext cx="2448272" cy="109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585187"/>
            <a:ext cx="5281152" cy="291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454073"/>
            <a:ext cx="4984677" cy="1546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platzhalter 6"/>
          <p:cNvSpPr txBox="1">
            <a:spLocks/>
          </p:cNvSpPr>
          <p:nvPr/>
        </p:nvSpPr>
        <p:spPr>
          <a:xfrm>
            <a:off x="7015727" y="1568880"/>
            <a:ext cx="4438269" cy="41850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/>
          <a:lstStyle>
            <a:lvl1pPr marL="214313" indent="-214313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chemeClr val="accent4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71488" indent="-200025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71513" indent="-200025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28700" indent="0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None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00188" indent="-128588" algn="l" rtl="0" eaLnBrk="1" fontAlgn="base" hangingPunct="1">
              <a:spcBef>
                <a:spcPct val="20000"/>
              </a:spcBef>
              <a:spcAft>
                <a:spcPts val="450"/>
              </a:spcAft>
              <a:buClr>
                <a:srgbClr val="7F7F7F"/>
              </a:buClr>
              <a:buFont typeface="Wingdings" pitchFamily="2" charset="2"/>
              <a:buChar char="n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b="1" dirty="0">
                <a:solidFill>
                  <a:schemeClr val="bg1"/>
                </a:solidFill>
              </a:rPr>
              <a:t>Regelenergievermarktung</a:t>
            </a:r>
          </a:p>
        </p:txBody>
      </p:sp>
    </p:spTree>
    <p:extLst>
      <p:ext uri="{BB962C8B-B14F-4D97-AF65-F5344CB8AC3E}">
        <p14:creationId xmlns:p14="http://schemas.microsoft.com/office/powerpoint/2010/main" val="128855701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Mit Hilfe von neuronalen Netzen können auch die </a:t>
            </a:r>
            <a:r>
              <a:rPr lang="de-DE" dirty="0" err="1"/>
              <a:t>Quantile</a:t>
            </a:r>
            <a:r>
              <a:rPr lang="de-DE" dirty="0"/>
              <a:t> prognostiziert werd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Prognose der </a:t>
            </a:r>
            <a:r>
              <a:rPr lang="de-DE" dirty="0" err="1"/>
              <a:t>Quantil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Neben der Punktprognose kann mit Hilfe eines neuronalen Netzes auch eine Intervallschätzung vorgenommen werden.</a:t>
            </a:r>
          </a:p>
          <a:p>
            <a:endParaRPr lang="de-DE" dirty="0"/>
          </a:p>
          <a:p>
            <a:r>
              <a:rPr lang="de-DE" dirty="0"/>
              <a:t>Als Ziel soll nun ein Intervall prognostiziert werden, das X-% Sicherheit den realisierten Wert abdeckt (typischerweise 90%)</a:t>
            </a:r>
          </a:p>
          <a:p>
            <a:r>
              <a:rPr lang="de-DE" dirty="0"/>
              <a:t>Outputs des Neuronalen Netzes sind nun zwei Werte (z.B.)</a:t>
            </a:r>
          </a:p>
          <a:p>
            <a:pPr lvl="1"/>
            <a:r>
              <a:rPr lang="de-DE" dirty="0"/>
              <a:t>05% Quantil</a:t>
            </a:r>
          </a:p>
          <a:p>
            <a:pPr lvl="1"/>
            <a:r>
              <a:rPr lang="de-DE" dirty="0"/>
              <a:t>95% Quantil</a:t>
            </a:r>
          </a:p>
          <a:p>
            <a:endParaRPr lang="de-DE" dirty="0"/>
          </a:p>
          <a:p>
            <a:r>
              <a:rPr lang="de-DE" dirty="0"/>
              <a:t>Für die Berechnung des 05% bzw. 95% Quantils muss zuerst die Verlustfunktion geeignet angepasst werden.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Erläuterun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4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877" y="2058550"/>
            <a:ext cx="5670792" cy="3937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96440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Für die Prognose der </a:t>
            </a:r>
            <a:r>
              <a:rPr lang="de-DE" dirty="0" err="1"/>
              <a:t>Quantile</a:t>
            </a:r>
            <a:r>
              <a:rPr lang="de-DE" dirty="0"/>
              <a:t> muss die Zielfunktion angepasst werd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 err="1"/>
              <a:t>Pinball</a:t>
            </a:r>
            <a:r>
              <a:rPr lang="de-DE" dirty="0"/>
              <a:t> Los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platzhalter 3"/>
              <p:cNvSpPr>
                <a:spLocks noGrp="1"/>
              </p:cNvSpPr>
              <p:nvPr>
                <p:ph type="body" sz="quarter" idx="27"/>
              </p:nvPr>
            </p:nvSpPr>
            <p:spPr/>
            <p:txBody>
              <a:bodyPr/>
              <a:lstStyle/>
              <a:p>
                <a:r>
                  <a:rPr lang="de-DE" dirty="0"/>
                  <a:t>Hinweis: ein 90% </a:t>
                </a:r>
                <a:r>
                  <a:rPr lang="de-DE" dirty="0" err="1"/>
                  <a:t>Quantilsvorhersage</a:t>
                </a:r>
                <a:r>
                  <a:rPr lang="de-DE" dirty="0"/>
                  <a:t> bedeutet, dass der Vorhersagewert durch eine Beobachtung nur in 10% der Fälle überschritten wird.</a:t>
                </a:r>
              </a:p>
              <a:p>
                <a:r>
                  <a:rPr lang="de-DE" dirty="0"/>
                  <a:t>Die Verlustfunktion gewichtet in Abhängigkeit eines definierten Quantils [%] Über- und Unterschätzung asymmetrisch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𝑞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"/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d>
                                <m:d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7"/>
                                    </m:r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</m:d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∙</m:t>
                              </m:r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   </m:t>
                              </m:r>
                            </m:e>
                          </m:mr>
                          <m:m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mr>
                        </m:m>
                        <m:eqArr>
                          <m:eqArr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b>
                              <m:sSub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&gt;</m:t>
                            </m:r>
                            <m:sSub>
                              <m:sSub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</m:e>
                          <m:e>
                            <m:sSub>
                              <m:sSubPr>
                                <m:ctrlPr>
                                  <a:rPr lang="de-DE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𝑞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≤</m:t>
                            </m:r>
                            <m:sSub>
                              <m:sSubPr>
                                <m:ctrlPr>
                                  <a:rPr lang="de-DE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</m:e>
                        </m:eqArr>
                      </m:e>
                    </m:d>
                  </m:oMath>
                </a14:m>
                <a:r>
                  <a:rPr lang="de-DE" dirty="0"/>
                  <a:t> 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e-DE" dirty="0"/>
                  <a:t> = realisierter Wert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𝑞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e-DE" dirty="0"/>
                  <a:t> = prognostizierter </a:t>
                </a:r>
                <a:r>
                  <a:rPr lang="de-DE" dirty="0" err="1"/>
                  <a:t>Quantilswert</a:t>
                </a:r>
                <a:endParaRPr lang="de-DE" dirty="0"/>
              </a:p>
              <a:p>
                <a:r>
                  <a:rPr lang="de-DE" dirty="0"/>
                  <a:t>Je höher das </a:t>
                </a:r>
                <a:r>
                  <a:rPr lang="de-DE" dirty="0" err="1"/>
                  <a:t>Quantile</a:t>
                </a:r>
                <a:r>
                  <a:rPr lang="de-DE" dirty="0"/>
                  <a:t> gewählt wird, desto größer ist die Steigung im Bereich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𝑞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e-DE" dirty="0"/>
                  <a:t> und niedriger ist die Steigung im Bereich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𝑞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&gt;</m:t>
                    </m:r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e-DE" dirty="0"/>
                  <a:t>. </a:t>
                </a:r>
              </a:p>
              <a:p>
                <a:r>
                  <a:rPr lang="de-DE" dirty="0"/>
                  <a:t>Hierdurch werden Überschätzungen wenig und Unterschätzungen stark bestraft.</a:t>
                </a:r>
              </a:p>
            </p:txBody>
          </p:sp>
        </mc:Choice>
        <mc:Fallback xmlns="">
          <p:sp>
            <p:nvSpPr>
              <p:cNvPr id="4" name="Textplatzhalt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7"/>
              </p:nvPr>
            </p:nvSpPr>
            <p:spPr>
              <a:blipFill>
                <a:blip r:embed="rId2"/>
                <a:stretch>
                  <a:fillRect l="-115" t="-310" r="-1155" b="-23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platzhalter 4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Erläuterun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5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937" y="2194440"/>
            <a:ext cx="5456701" cy="380240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C8C683C0-2142-48EE-9BC9-CCC7676BCA0C}"/>
                  </a:ext>
                </a:extLst>
              </p:cNvPr>
              <p:cNvSpPr txBox="1"/>
              <p:nvPr/>
            </p:nvSpPr>
            <p:spPr>
              <a:xfrm>
                <a:off x="2974977" y="5754742"/>
                <a:ext cx="1101584" cy="338554"/>
              </a:xfrm>
              <a:prstGeom prst="rect">
                <a:avLst/>
              </a:prstGeom>
              <a:solidFill>
                <a:schemeClr val="bg1"/>
              </a:solidFill>
              <a:ln w="28575"/>
            </p:spPr>
            <p:txBody>
              <a:bodyPr wrap="none" rtlCol="0">
                <a:spAutoFit/>
              </a:bodyPr>
              <a:lstStyle/>
              <a:p>
                <a:pPr marL="0" indent="0" algn="l">
                  <a:spcAft>
                    <a:spcPts val="1200"/>
                  </a:spcAft>
                  <a:buNone/>
                </a:pPr>
                <a14:m>
                  <m:oMath xmlns:m="http://schemas.openxmlformats.org/officeDocument/2006/math">
                    <m:r>
                      <a:rPr lang="de-DE" sz="1600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0000</m:t>
                    </m:r>
                  </m:oMath>
                </a14:m>
                <a:r>
                  <a:rPr lang="de-DE" sz="1600" dirty="0">
                    <a:solidFill>
                      <a:schemeClr val="bg1"/>
                    </a:solidFill>
                  </a:rPr>
                  <a:t>        </a:t>
                </a: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C8C683C0-2142-48EE-9BC9-CCC7676BCA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4977" y="5754742"/>
                <a:ext cx="1101584" cy="33855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1653233-BCE0-47A7-B7EC-EB34BFE41DF4}"/>
              </a:ext>
            </a:extLst>
          </p:cNvPr>
          <p:cNvCxnSpPr>
            <a:cxnSpLocks/>
          </p:cNvCxnSpPr>
          <p:nvPr/>
        </p:nvCxnSpPr>
        <p:spPr>
          <a:xfrm>
            <a:off x="3195573" y="4581128"/>
            <a:ext cx="0" cy="792088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B7771D52-5954-49DA-8AAB-2FBFE31E2E4C}"/>
                  </a:ext>
                </a:extLst>
              </p:cNvPr>
              <p:cNvSpPr txBox="1"/>
              <p:nvPr/>
            </p:nvSpPr>
            <p:spPr>
              <a:xfrm>
                <a:off x="2758444" y="4273934"/>
                <a:ext cx="1921423" cy="338554"/>
              </a:xfrm>
              <a:prstGeom prst="rect">
                <a:avLst/>
              </a:prstGeom>
              <a:solidFill>
                <a:schemeClr val="bg1"/>
              </a:solidFill>
              <a:ln w="28575"/>
            </p:spPr>
            <p:txBody>
              <a:bodyPr wrap="none" rtlCol="0">
                <a:spAutoFit/>
              </a:bodyPr>
              <a:lstStyle/>
              <a:p>
                <a:pPr marL="0" indent="0" algn="l">
                  <a:spcAft>
                    <a:spcPts val="1200"/>
                  </a:spcAft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/>
                    </m:sSub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=100</m:t>
                    </m:r>
                  </m:oMath>
                </a14:m>
                <a:r>
                  <a:rPr lang="de-DE" sz="1600" dirty="0"/>
                  <a:t>               </a:t>
                </a: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B7771D52-5954-49DA-8AAB-2FBFE31E2E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8444" y="4273934"/>
                <a:ext cx="1921423" cy="338554"/>
              </a:xfrm>
              <a:prstGeom prst="rect">
                <a:avLst/>
              </a:prstGeom>
              <a:blipFill>
                <a:blip r:embed="rId5"/>
                <a:stretch>
                  <a:fillRect b="-5357"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5AB4B6FB-893C-41E7-A2B4-DB9850941C04}"/>
                  </a:ext>
                </a:extLst>
              </p:cNvPr>
              <p:cNvSpPr txBox="1"/>
              <p:nvPr/>
            </p:nvSpPr>
            <p:spPr>
              <a:xfrm>
                <a:off x="5528578" y="5443945"/>
                <a:ext cx="442622" cy="511422"/>
              </a:xfrm>
              <a:prstGeom prst="rect">
                <a:avLst/>
              </a:prstGeom>
              <a:solidFill>
                <a:schemeClr val="bg1"/>
              </a:solidFill>
              <a:ln w="28575"/>
            </p:spPr>
            <p:txBody>
              <a:bodyPr wrap="none" rtlCol="0">
                <a:spAutoFit/>
              </a:bodyPr>
              <a:lstStyle/>
              <a:p>
                <a:pPr marL="0" indent="0" algn="l">
                  <a:spcAft>
                    <a:spcPts val="1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5AB4B6FB-893C-41E7-A2B4-DB9850941C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28578" y="5443945"/>
                <a:ext cx="442622" cy="51142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hteck 17">
            <a:extLst>
              <a:ext uri="{FF2B5EF4-FFF2-40B4-BE49-F238E27FC236}">
                <a16:creationId xmlns:a16="http://schemas.microsoft.com/office/drawing/2014/main" id="{C1DB9936-FB1B-424F-8AFE-751E0746CF54}"/>
              </a:ext>
            </a:extLst>
          </p:cNvPr>
          <p:cNvSpPr/>
          <p:nvPr/>
        </p:nvSpPr>
        <p:spPr>
          <a:xfrm>
            <a:off x="1055440" y="2481454"/>
            <a:ext cx="2140132" cy="3107786"/>
          </a:xfrm>
          <a:prstGeom prst="rect">
            <a:avLst/>
          </a:prstGeom>
          <a:solidFill>
            <a:srgbClr val="F2F2F2">
              <a:alpha val="40000"/>
            </a:srgbClr>
          </a:solidFill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41E10355-B24E-4170-ADCA-87776A57A882}"/>
                  </a:ext>
                </a:extLst>
              </p:cNvPr>
              <p:cNvSpPr txBox="1"/>
              <p:nvPr/>
            </p:nvSpPr>
            <p:spPr>
              <a:xfrm>
                <a:off x="1928986" y="3010168"/>
                <a:ext cx="829458" cy="511422"/>
              </a:xfrm>
              <a:prstGeom prst="rect">
                <a:avLst/>
              </a:prstGeom>
              <a:solidFill>
                <a:schemeClr val="bg1"/>
              </a:solidFill>
              <a:ln w="28575"/>
            </p:spPr>
            <p:txBody>
              <a:bodyPr wrap="none" rtlCol="0">
                <a:spAutoFit/>
              </a:bodyPr>
              <a:lstStyle/>
              <a:p>
                <a:pPr marL="0" indent="0" algn="l">
                  <a:spcAft>
                    <a:spcPts val="1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41E10355-B24E-4170-ADCA-87776A57A8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28986" y="3010168"/>
                <a:ext cx="829458" cy="51142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BD2A5CC9-3533-4F12-BA6A-4329BD50FA0B}"/>
                  </a:ext>
                </a:extLst>
              </p:cNvPr>
              <p:cNvSpPr txBox="1"/>
              <p:nvPr/>
            </p:nvSpPr>
            <p:spPr>
              <a:xfrm>
                <a:off x="3850409" y="3010168"/>
                <a:ext cx="829458" cy="511422"/>
              </a:xfrm>
              <a:prstGeom prst="rect">
                <a:avLst/>
              </a:prstGeom>
              <a:solidFill>
                <a:schemeClr val="bg1"/>
              </a:solidFill>
              <a:ln w="28575"/>
            </p:spPr>
            <p:txBody>
              <a:bodyPr wrap="none" rtlCol="0">
                <a:spAutoFit/>
              </a:bodyPr>
              <a:lstStyle/>
              <a:p>
                <a:pPr marL="0" indent="0" algn="l">
                  <a:spcAft>
                    <a:spcPts val="12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𝑞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&gt;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BD2A5CC9-3533-4F12-BA6A-4329BD50FA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0409" y="3010168"/>
                <a:ext cx="829458" cy="51142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28575"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8635880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Für eine Differenzierbarkeit muss die </a:t>
            </a:r>
            <a:r>
              <a:rPr lang="de-DE" dirty="0" err="1"/>
              <a:t>Pinballfunktion</a:t>
            </a:r>
            <a:r>
              <a:rPr lang="de-DE" dirty="0"/>
              <a:t> leicht abgewandelt werd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Huber Nor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platzhalter 3"/>
              <p:cNvSpPr>
                <a:spLocks noGrp="1"/>
              </p:cNvSpPr>
              <p:nvPr>
                <p:ph type="body" sz="quarter" idx="27"/>
              </p:nvPr>
            </p:nvSpPr>
            <p:spPr/>
            <p:txBody>
              <a:bodyPr/>
              <a:lstStyle/>
              <a:p>
                <a:r>
                  <a:rPr lang="de-DE" dirty="0"/>
                  <a:t>An der Stel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𝑞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de-DE" dirty="0"/>
                  <a:t> ist die Funktion nicht stetig</a:t>
                </a:r>
              </a:p>
              <a:p>
                <a:r>
                  <a:rPr lang="de-DE" dirty="0"/>
                  <a:t>Zur Vermeidung kann der </a:t>
                </a:r>
                <a:r>
                  <a:rPr lang="de-DE" dirty="0" err="1"/>
                  <a:t>Pinball</a:t>
                </a:r>
                <a:r>
                  <a:rPr lang="de-DE" dirty="0"/>
                  <a:t>-Loss in die „Huber Norm“ transformiert werden</a:t>
                </a:r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𝜖</m:t>
                    </m:r>
                  </m:oMath>
                </a14:m>
                <a:r>
                  <a:rPr lang="de-DE" dirty="0"/>
                  <a:t> ist hierbei eine beliebig kleine Zahl</a:t>
                </a:r>
              </a:p>
            </p:txBody>
          </p:sp>
        </mc:Choice>
        <mc:Fallback xmlns="">
          <p:sp>
            <p:nvSpPr>
              <p:cNvPr id="4" name="Textplatzhalt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7"/>
              </p:nvPr>
            </p:nvSpPr>
            <p:spPr>
              <a:blipFill>
                <a:blip r:embed="rId2"/>
                <a:stretch>
                  <a:fillRect l="-115" t="-3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platzhalter 4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Erläuterun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6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082" y="2476701"/>
            <a:ext cx="4734586" cy="1314633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6082" y="4467918"/>
            <a:ext cx="4372585" cy="895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98775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s kann mit Hilfe einer Funktion eine eigenständige individuelle differenzierbare Verlustfunktion kreiert werd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Eigenständige Formulierung Verlustfunktion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7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8696" y="3140968"/>
            <a:ext cx="3371330" cy="936104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6391" y="4220330"/>
            <a:ext cx="3495939" cy="7159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0CD846A-CF3F-4C5F-B2F4-C0DE51B68D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092" y="2260326"/>
            <a:ext cx="5141176" cy="3538487"/>
          </a:xfrm>
          <a:prstGeom prst="rect">
            <a:avLst/>
          </a:prstGeom>
        </p:spPr>
      </p:pic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71A88250-573F-4394-ABD0-7AE04AD0BEFB}"/>
              </a:ext>
            </a:extLst>
          </p:cNvPr>
          <p:cNvSpPr/>
          <p:nvPr/>
        </p:nvSpPr>
        <p:spPr>
          <a:xfrm flipH="1">
            <a:off x="5959560" y="3449824"/>
            <a:ext cx="379256" cy="458497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1EA730EA-CAA4-426E-8CD4-38FC35A5EA0F}"/>
              </a:ext>
            </a:extLst>
          </p:cNvPr>
          <p:cNvSpPr/>
          <p:nvPr/>
        </p:nvSpPr>
        <p:spPr>
          <a:xfrm flipH="1">
            <a:off x="5943072" y="4257876"/>
            <a:ext cx="379256" cy="458497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12284799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s besteht die Möglichkeit die Hyperparameteroptimierung auf einem Server der FH durchzuführ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8</a:t>
            </a:fld>
            <a:endParaRPr lang="de-DE" alt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Zugang </a:t>
            </a:r>
          </a:p>
          <a:p>
            <a:pPr lvl="1"/>
            <a:r>
              <a:rPr lang="de-DE" dirty="0"/>
              <a:t>FH-Kennung auf einen Server im VPN über RDP (RemoteDesktop) einwählen:</a:t>
            </a:r>
          </a:p>
          <a:p>
            <a:pPr lvl="1"/>
            <a:r>
              <a:rPr lang="de-DE" dirty="0"/>
              <a:t>(Kürzel und Passwort (wie ILIAS/QIS/Services/...).</a:t>
            </a:r>
          </a:p>
          <a:p>
            <a:pPr lvl="1"/>
            <a:r>
              <a:rPr lang="de-DE" dirty="0"/>
              <a:t>läuft über das AD (Active-Directory) der FH.</a:t>
            </a:r>
          </a:p>
          <a:p>
            <a:endParaRPr lang="de-DE" dirty="0"/>
          </a:p>
          <a:p>
            <a:pPr lvl="1"/>
            <a:r>
              <a:rPr lang="de-DE" dirty="0"/>
              <a:t>HOST: rdp.nowum.fh-aachen.de</a:t>
            </a:r>
          </a:p>
          <a:p>
            <a:pPr lvl="1"/>
            <a:r>
              <a:rPr lang="de-DE" dirty="0"/>
              <a:t>USERNAME: st1234s (also entsprechendes Studi-Kürzel)</a:t>
            </a:r>
          </a:p>
          <a:p>
            <a:pPr lvl="1"/>
            <a:r>
              <a:rPr lang="de-DE" dirty="0"/>
              <a:t>PASSWORT: entsprechendes Studi-Passwort</a:t>
            </a:r>
          </a:p>
          <a:p>
            <a:r>
              <a:rPr lang="de-DE" dirty="0"/>
              <a:t> Serversoftware</a:t>
            </a:r>
          </a:p>
          <a:p>
            <a:pPr lvl="1"/>
            <a:r>
              <a:rPr lang="de-DE" dirty="0"/>
              <a:t>Linux, python, MATLAB ist installiert inklusive Lizenz und sollte direkt funktionieren.</a:t>
            </a:r>
          </a:p>
          <a:p>
            <a:r>
              <a:rPr lang="de-DE" dirty="0"/>
              <a:t>Datentransfer</a:t>
            </a:r>
          </a:p>
          <a:p>
            <a:pPr lvl="1"/>
            <a:r>
              <a:rPr lang="de-DE" dirty="0"/>
              <a:t>Einzelne Dateien sollte man mit der Zwischenablage (Strg+C und Strg+V) direkt kopieren können.</a:t>
            </a:r>
          </a:p>
          <a:p>
            <a:pPr lvl="1"/>
            <a:r>
              <a:rPr lang="de-DE"/>
              <a:t>Alt.: </a:t>
            </a:r>
            <a:r>
              <a:rPr lang="de-DE" dirty="0"/>
              <a:t>Ggf. </a:t>
            </a:r>
            <a:r>
              <a:rPr lang="de-DE" dirty="0" err="1"/>
              <a:t>Sciebo</a:t>
            </a:r>
            <a:r>
              <a:rPr lang="de-DE" dirty="0"/>
              <a:t> </a:t>
            </a:r>
            <a:r>
              <a:rPr lang="de-DE" dirty="0" err="1"/>
              <a:t>einbindbar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7023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er Stoff wird sehr kondensiert vermittelt, so dass eine Literaturbegleitung zwingend erforderlich is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Gute kompakte Einführung von neuronalen Netzen und Erklärung des Back-Propagation Algorithmu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Quelle: http://neuralnetworksanddeeplearning.com/index.html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Erläuteru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588117"/>
            <a:ext cx="4392488" cy="451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9394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er Stoff wird sehr kondensiert vermittelt, so dass eine Literaturbegleitung zwingend erforderlich ist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Theoretisches fundiertes Kompendium </a:t>
            </a:r>
          </a:p>
          <a:p>
            <a:r>
              <a:rPr lang="de-DE" dirty="0"/>
              <a:t>mathematisch orientiert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Bezug: www.deeplearningbook.org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Erläuteru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6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786" y="1581402"/>
            <a:ext cx="3444885" cy="4503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7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er Stoff wird sehr kondensiert vermittelt, so dass eine Literaturbegleitung zwingend erforderlich ist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Umfangreiche anwendungsorientierte Abhandlung mit Keras/</a:t>
            </a:r>
            <a:r>
              <a:rPr lang="de-DE" dirty="0" err="1"/>
              <a:t>Tensorflow</a:t>
            </a:r>
            <a:r>
              <a:rPr lang="de-DE" dirty="0"/>
              <a:t>-Umgebung</a:t>
            </a:r>
          </a:p>
          <a:p>
            <a:r>
              <a:rPr lang="de-DE" dirty="0"/>
              <a:t>Leider Kapitel zur Regression </a:t>
            </a:r>
            <a:r>
              <a:rPr lang="de-DE" dirty="0" err="1"/>
              <a:t>ggü</a:t>
            </a:r>
            <a:r>
              <a:rPr lang="de-DE" dirty="0"/>
              <a:t>. Klassifikation unterrepräsentiert</a:t>
            </a:r>
          </a:p>
          <a:p>
            <a:r>
              <a:rPr lang="de-DE" dirty="0"/>
              <a:t>Aktuell: 2.te Auflage 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Bezug: Bibliothek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https://www.manning.com/books/deep-learning-with-python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Erläuteru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7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005" y="1356362"/>
            <a:ext cx="3581670" cy="459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831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er Stoff wird sehr kondensiert vermittelt, so dass eine Literaturbegleitung zwingend erforderlich is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Literatur Umsetzu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/>
              <a:t>Machine</a:t>
            </a:r>
            <a:r>
              <a:rPr lang="de-DE" b="1" dirty="0"/>
              <a:t> Learning für Zeitreihen </a:t>
            </a:r>
          </a:p>
          <a:p>
            <a:r>
              <a:rPr lang="de-DE" dirty="0"/>
              <a:t>Einstieg in Regressions-, ARIMA- und </a:t>
            </a:r>
            <a:r>
              <a:rPr lang="de-DE" dirty="0" err="1"/>
              <a:t>Deep</a:t>
            </a:r>
            <a:r>
              <a:rPr lang="de-DE" dirty="0"/>
              <a:t> Learning-Verfahren mit Python. Inkl. E-Book </a:t>
            </a:r>
          </a:p>
          <a:p>
            <a:r>
              <a:rPr lang="de-DE" b="1" dirty="0">
                <a:hlinkClick r:id="rId2" tooltip="Nach Jochen Hirschle suchen"/>
              </a:rPr>
              <a:t>Jochen </a:t>
            </a:r>
            <a:r>
              <a:rPr lang="de-DE" b="1" dirty="0" err="1">
                <a:hlinkClick r:id="rId2" tooltip="Nach Jochen Hirschle suchen"/>
              </a:rPr>
              <a:t>Hirschle</a:t>
            </a:r>
            <a:r>
              <a:rPr lang="de-DE" b="1" dirty="0"/>
              <a:t> (Autor) </a:t>
            </a:r>
          </a:p>
          <a:p>
            <a:r>
              <a:rPr lang="de-DE" dirty="0"/>
              <a:t>Buch | Hardcover </a:t>
            </a:r>
          </a:p>
          <a:p>
            <a:r>
              <a:rPr lang="de-DE" dirty="0"/>
              <a:t>277 Seiten </a:t>
            </a:r>
          </a:p>
          <a:p>
            <a:r>
              <a:rPr lang="de-DE" dirty="0"/>
              <a:t>2020 | 1. Auflage Hanser, Carl (Verlag) 978-3-446-46726-2 (ISBN)</a:t>
            </a:r>
          </a:p>
          <a:p>
            <a:endParaRPr lang="de-DE" dirty="0"/>
          </a:p>
          <a:p>
            <a:r>
              <a:rPr lang="de-DE" dirty="0"/>
              <a:t>Implementierung neuronaler Netze in Python für Zeitreihenanalyse</a:t>
            </a:r>
          </a:p>
          <a:p>
            <a:r>
              <a:rPr lang="de-DE" dirty="0"/>
              <a:t>Neuronale Netze </a:t>
            </a:r>
          </a:p>
          <a:p>
            <a:r>
              <a:rPr lang="de-DE" dirty="0"/>
              <a:t>anwendungsorientiert</a:t>
            </a:r>
          </a:p>
          <a:p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8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9777" y="2162811"/>
            <a:ext cx="2670401" cy="381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8734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as Ziel: … Modellierung der Einspeisung einer Windenergieanlag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1150A89-FA3E-4BBD-9228-B9ADB2B0C5B3}" type="datetime1">
              <a:rPr lang="de-DE" smtClean="0"/>
              <a:pPr>
                <a:defRPr/>
              </a:pPr>
              <a:t>02.05.202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of. Dr. Ralf Schemm |  Energiewirtschaft &amp; Energie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9</a:t>
            </a:fld>
            <a:endParaRPr lang="de-DE" alt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70749" y="1374906"/>
            <a:ext cx="3528391" cy="474712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377" y="1518414"/>
            <a:ext cx="6173719" cy="4603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613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7|21.3|17.5|18.9"/>
</p:tagLst>
</file>

<file path=ppt/theme/theme1.xml><?xml version="1.0" encoding="utf-8"?>
<a:theme xmlns:a="http://schemas.openxmlformats.org/drawingml/2006/main" name="1_EWI Design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000000"/>
      </a:accent6>
      <a:hlink>
        <a:srgbClr val="0000FF"/>
      </a:hlink>
      <a:folHlink>
        <a:srgbClr val="800080"/>
      </a:folHlink>
    </a:clrScheme>
    <a:fontScheme name="Ganymed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>
        <a:spAutoFit/>
      </a:bodyPr>
      <a:lstStyle>
        <a:defPPr>
          <a:defRPr sz="1400" dirty="0"/>
        </a:defPPr>
      </a:lstStyle>
    </a:spDef>
    <a:lnDef>
      <a:spPr>
        <a:ln w="28575">
          <a:solidFill>
            <a:schemeClr val="bg1">
              <a:lumMod val="50000"/>
            </a:schemeClr>
          </a:solidFill>
          <a:headEnd type="none" w="med" len="med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/>
      </a:spPr>
      <a:bodyPr wrap="none" rtlCol="0">
        <a:spAutoFit/>
      </a:bodyPr>
      <a:lstStyle>
        <a:defPPr marL="0" indent="0" algn="l">
          <a:spcAft>
            <a:spcPts val="1200"/>
          </a:spcAft>
          <a:buNone/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0108-folienmaster-ews.potx" id="{EC456131-DBD9-4E43-B26C-CE898F607C7C}" vid="{90D30034-E6C9-4EF7-8D4D-AB5C58669669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onvetionelle Kraftwerke</Template>
  <TotalTime>0</TotalTime>
  <Words>3808</Words>
  <Application>Microsoft Office PowerPoint</Application>
  <PresentationFormat>Breitbild</PresentationFormat>
  <Paragraphs>863</Paragraphs>
  <Slides>48</Slides>
  <Notes>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8</vt:i4>
      </vt:variant>
    </vt:vector>
  </HeadingPairs>
  <TitlesOfParts>
    <vt:vector size="58" baseType="lpstr">
      <vt:lpstr>Arial</vt:lpstr>
      <vt:lpstr>Arial </vt:lpstr>
      <vt:lpstr>Arial Black</vt:lpstr>
      <vt:lpstr>Calibri</vt:lpstr>
      <vt:lpstr>Cambria Math</vt:lpstr>
      <vt:lpstr>Symbol</vt:lpstr>
      <vt:lpstr>Verdana</vt:lpstr>
      <vt:lpstr>Wingdings</vt:lpstr>
      <vt:lpstr>1_EWI 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Fachhochschule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ventionelle Kraftwerke – Aufbau und Funktion</dc:title>
  <dc:creator>Christian Rieke</dc:creator>
  <cp:lastModifiedBy>Schemm, Ralf</cp:lastModifiedBy>
  <cp:revision>1307</cp:revision>
  <dcterms:created xsi:type="dcterms:W3CDTF">2018-02-09T15:53:13Z</dcterms:created>
  <dcterms:modified xsi:type="dcterms:W3CDTF">2023-05-02T06:45:27Z</dcterms:modified>
</cp:coreProperties>
</file>